
<file path=[Content_Types].xml><?xml version="1.0" encoding="utf-8"?>
<Types xmlns="http://schemas.openxmlformats.org/package/2006/content-types">
  <Default Extension="bin" ContentType="image/unknown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3"/>
  </p:notesMasterIdLst>
  <p:sldIdLst>
    <p:sldId id="278" r:id="rId5"/>
    <p:sldId id="260" r:id="rId6"/>
    <p:sldId id="261" r:id="rId7"/>
    <p:sldId id="262" r:id="rId8"/>
    <p:sldId id="270" r:id="rId9"/>
    <p:sldId id="263" r:id="rId10"/>
    <p:sldId id="268" r:id="rId11"/>
    <p:sldId id="267" r:id="rId12"/>
    <p:sldId id="276" r:id="rId13"/>
    <p:sldId id="264" r:id="rId14"/>
    <p:sldId id="265" r:id="rId15"/>
    <p:sldId id="274" r:id="rId16"/>
    <p:sldId id="272" r:id="rId17"/>
    <p:sldId id="269" r:id="rId18"/>
    <p:sldId id="266" r:id="rId19"/>
    <p:sldId id="277" r:id="rId20"/>
    <p:sldId id="273" r:id="rId21"/>
    <p:sldId id="275" r:id="rId22"/>
  </p:sldIdLst>
  <p:sldSz cx="12192000" cy="6858000"/>
  <p:notesSz cx="7010400" cy="92964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B3E2"/>
    <a:srgbClr val="009644"/>
    <a:srgbClr val="ECF9E7"/>
    <a:srgbClr val="C1DA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363" autoAdjust="0"/>
    <p:restoredTop sz="84496" autoAdjust="0"/>
  </p:normalViewPr>
  <p:slideViewPr>
    <p:cSldViewPr snapToGrid="0">
      <p:cViewPr varScale="1">
        <p:scale>
          <a:sx n="123" d="100"/>
          <a:sy n="123" d="100"/>
        </p:scale>
        <p:origin x="933" y="7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H:\Progetti\MICS\Fase%20attuativa\Futuro\CNR\CRESCO%202.0\Grafici%20pubblicazioni_2.0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\\Users\MarcoSpaltini\Dropbox%20(DIG)\PNRR%20PE-MG\Ricerca%20industriale\Ricerca%20settori%20italia%202021%20v.2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file:///\\Users\MarcoSpaltini\Dropbox%20(DIG)\PNRR%20PE-MG\Ricerca%20industriale\Ricerca%20settori%20italia%202021%20v.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777712920671907E-2"/>
          <c:y val="1.6550065904092071E-2"/>
          <c:w val="0.93993998885022156"/>
          <c:h val="0.3863041781939419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11A-43DE-954B-676AF161D901}"/>
              </c:ext>
            </c:extLst>
          </c:dPt>
          <c:dPt>
            <c:idx val="1"/>
            <c:invertIfNegative val="0"/>
            <c:bubble3D val="0"/>
            <c:spPr>
              <a:solidFill>
                <a:srgbClr val="FF4F4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11A-43DE-954B-676AF161D901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11A-43DE-954B-676AF161D901}"/>
              </c:ext>
            </c:extLst>
          </c:dPt>
          <c:dPt>
            <c:idx val="3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11A-43DE-954B-676AF161D901}"/>
              </c:ext>
            </c:extLst>
          </c:dPt>
          <c:dPt>
            <c:idx val="4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11A-43DE-954B-676AF161D901}"/>
              </c:ext>
            </c:extLst>
          </c:dPt>
          <c:dPt>
            <c:idx val="5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711A-43DE-954B-676AF161D901}"/>
              </c:ext>
            </c:extLst>
          </c:dPt>
          <c:dPt>
            <c:idx val="6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711A-43DE-954B-676AF161D901}"/>
              </c:ext>
            </c:extLst>
          </c:dPt>
          <c:dPt>
            <c:idx val="7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711A-43DE-954B-676AF161D901}"/>
              </c:ext>
            </c:extLst>
          </c:dPt>
          <c:dPt>
            <c:idx val="8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711A-43DE-954B-676AF161D901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711A-43DE-954B-676AF161D901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711A-43DE-954B-676AF161D901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711A-43DE-954B-676AF161D901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711A-43DE-954B-676AF161D901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711A-43DE-954B-676AF161D901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711A-43DE-954B-676AF161D901}"/>
              </c:ext>
            </c:extLst>
          </c:dPt>
          <c:dPt>
            <c:idx val="2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711A-43DE-954B-676AF161D901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1-711A-43DE-954B-676AF161D901}"/>
              </c:ext>
            </c:extLst>
          </c:dPt>
          <c:dPt>
            <c:idx val="22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3-711A-43DE-954B-676AF161D901}"/>
              </c:ext>
            </c:extLst>
          </c:dPt>
          <c:dPt>
            <c:idx val="23"/>
            <c:invertIfNegative val="0"/>
            <c:bubble3D val="0"/>
            <c:spPr>
              <a:solidFill>
                <a:schemeClr val="bg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5-711A-43DE-954B-676AF161D901}"/>
              </c:ext>
            </c:extLst>
          </c:dPt>
          <c:dPt>
            <c:idx val="2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7-711A-43DE-954B-676AF161D901}"/>
              </c:ext>
            </c:extLst>
          </c:dPt>
          <c:dPt>
            <c:idx val="2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9-711A-43DE-954B-676AF161D901}"/>
              </c:ext>
            </c:extLst>
          </c:dPt>
          <c:dPt>
            <c:idx val="26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B-711A-43DE-954B-676AF161D901}"/>
              </c:ext>
            </c:extLst>
          </c:dPt>
          <c:dPt>
            <c:idx val="2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D-711A-43DE-954B-676AF161D901}"/>
              </c:ext>
            </c:extLst>
          </c:dPt>
          <c:dPt>
            <c:idx val="28"/>
            <c:invertIfNegative val="0"/>
            <c:bubble3D val="0"/>
            <c:spPr>
              <a:solidFill>
                <a:srgbClr val="FFC0C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F-711A-43DE-954B-676AF161D901}"/>
              </c:ext>
            </c:extLst>
          </c:dPt>
          <c:dPt>
            <c:idx val="29"/>
            <c:invertIfNegative val="0"/>
            <c:bubble3D val="0"/>
            <c:spPr>
              <a:solidFill>
                <a:srgbClr val="FFC0C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1-711A-43DE-954B-676AF161D901}"/>
              </c:ext>
            </c:extLst>
          </c:dPt>
          <c:dPt>
            <c:idx val="30"/>
            <c:invertIfNegative val="0"/>
            <c:bubble3D val="0"/>
            <c:spPr>
              <a:solidFill>
                <a:srgbClr val="FFC0C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3-711A-43DE-954B-676AF161D901}"/>
              </c:ext>
            </c:extLst>
          </c:dPt>
          <c:dPt>
            <c:idx val="3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5-711A-43DE-954B-676AF161D901}"/>
              </c:ext>
            </c:extLst>
          </c:dPt>
          <c:dPt>
            <c:idx val="32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7-711A-43DE-954B-676AF161D901}"/>
              </c:ext>
            </c:extLst>
          </c:dPt>
          <c:dPt>
            <c:idx val="3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9-711A-43DE-954B-676AF161D901}"/>
              </c:ext>
            </c:extLst>
          </c:dPt>
          <c:dPt>
            <c:idx val="3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B-711A-43DE-954B-676AF161D901}"/>
              </c:ext>
            </c:extLst>
          </c:dPt>
          <c:dPt>
            <c:idx val="35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D-711A-43DE-954B-676AF161D901}"/>
              </c:ext>
            </c:extLst>
          </c:dPt>
          <c:dPt>
            <c:idx val="36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3F-711A-43DE-954B-676AF161D901}"/>
              </c:ext>
            </c:extLst>
          </c:dPt>
          <c:dPt>
            <c:idx val="37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1-711A-43DE-954B-676AF161D901}"/>
              </c:ext>
            </c:extLst>
          </c:dPt>
          <c:dPt>
            <c:idx val="38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3-711A-43DE-954B-676AF161D901}"/>
              </c:ext>
            </c:extLst>
          </c:dPt>
          <c:dPt>
            <c:idx val="39"/>
            <c:invertIfNegative val="0"/>
            <c:bubble3D val="0"/>
            <c:spPr>
              <a:solidFill>
                <a:srgbClr val="D2CD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5-711A-43DE-954B-676AF161D901}"/>
              </c:ext>
            </c:extLst>
          </c:dPt>
          <c:dPt>
            <c:idx val="40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7-711A-43DE-954B-676AF161D901}"/>
              </c:ext>
            </c:extLst>
          </c:dPt>
          <c:dPt>
            <c:idx val="4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49-711A-43DE-954B-676AF161D901}"/>
              </c:ext>
            </c:extLst>
          </c:dPt>
          <c:cat>
            <c:strRef>
              <c:f>'Ambiti disciplinari'!$B$22:$B$403</c:f>
              <c:strCache>
                <c:ptCount val="42"/>
                <c:pt idx="0">
                  <c:v>PE1_21 Application of mathematics in sciences</c:v>
                </c:pt>
                <c:pt idx="1">
                  <c:v>PE2_12 Optics, non-linear optics and nano-optics</c:v>
                </c:pt>
                <c:pt idx="2">
                  <c:v>PE3_1 Structure of solids, material growth and characterization</c:v>
                </c:pt>
                <c:pt idx="3">
                  <c:v>PE3_4 Electronic properties of materials, surfaces, interfaces, nanostructures</c:v>
                </c:pt>
                <c:pt idx="4">
                  <c:v>PE3_5 Physical properties of semiconductors and insulators</c:v>
                </c:pt>
                <c:pt idx="5">
                  <c:v>PE3_10 Nanophysics, e.g. nanoelectronics, nanophotonics, nanomagnetism, nanoelectromechanics</c:v>
                </c:pt>
                <c:pt idx="6">
                  <c:v>PE3_16 Physics of biological systems</c:v>
                </c:pt>
                <c:pt idx="7">
                  <c:v>PE3_CNR_1 Computational physics, modeling and simulation of matter, materials and biosystems</c:v>
                </c:pt>
                <c:pt idx="8">
                  <c:v>PE3_CNR_2 Physics for cultural heritage and environment</c:v>
                </c:pt>
                <c:pt idx="9">
                  <c:v>PE4_2 Spectroscopic and spectrometric techniques</c:v>
                </c:pt>
                <c:pt idx="10">
                  <c:v>PE4_4 Surface science and nanostructures</c:v>
                </c:pt>
                <c:pt idx="11">
                  <c:v>PE4_8 Electrochemistry, electrodialysis, microfluidics, sensors</c:v>
                </c:pt>
                <c:pt idx="12">
                  <c:v>PE4_10 Heterogeneous catalysis</c:v>
                </c:pt>
                <c:pt idx="13">
                  <c:v>PE4_18 Environment chemistry</c:v>
                </c:pt>
                <c:pt idx="14">
                  <c:v>PE5_1 Structural properties and characterization of materials</c:v>
                </c:pt>
                <c:pt idx="15">
                  <c:v>PE5_6 New materials: oxides, alloys, composite, organic-inorganic hybrid, nanoparticles</c:v>
                </c:pt>
                <c:pt idx="16">
                  <c:v>PE5_7 Biomaterials synthesis</c:v>
                </c:pt>
                <c:pt idx="17">
                  <c:v>PE5_8 Intelligent materials synthesis – self assembled materials</c:v>
                </c:pt>
                <c:pt idx="18">
                  <c:v>PE5_15 Polymer chemistry</c:v>
                </c:pt>
                <c:pt idx="19">
                  <c:v>PE5_16 Supramolecular chemistry</c:v>
                </c:pt>
                <c:pt idx="20">
                  <c:v>PE5_17 Organic and bioorganic chemistry</c:v>
                </c:pt>
                <c:pt idx="21">
                  <c:v>PE5_CNR_1 Green chemistry and circular economy</c:v>
                </c:pt>
                <c:pt idx="22">
                  <c:v>PE6_12 Scientific computing, simulation and modelling tools</c:v>
                </c:pt>
                <c:pt idx="23">
                  <c:v>PE7_5 (Micro-, nano- and bio-) electronic, optoelectronic and photonic components</c:v>
                </c:pt>
                <c:pt idx="24">
                  <c:v>PE8_2 Chemical engineering, technical chemistry</c:v>
                </c:pt>
                <c:pt idx="25">
                  <c:v>PE8_6 Energy processes engineering</c:v>
                </c:pt>
                <c:pt idx="26">
                  <c:v>PE8_10 Manufacturing engineering and industrial design</c:v>
                </c:pt>
                <c:pt idx="27">
                  <c:v>PE8_11 Environmental engineering, e.g. sustainable design, waste and water treatment, recycling, regeneration or recovery of compounds, carbon capture &amp; storage</c:v>
                </c:pt>
                <c:pt idx="28">
                  <c:v>PE10_3 Climatology and climate change</c:v>
                </c:pt>
                <c:pt idx="29">
                  <c:v>PE10_5 Geology, tectonics, volcanology</c:v>
                </c:pt>
                <c:pt idx="30">
                  <c:v>PE10_11 Geochemistry, cosmochemistry, crystal chemistry, isotope geochemistry, thermodynamics</c:v>
                </c:pt>
                <c:pt idx="31">
                  <c:v>PE11_1 Engineering of biomaterials, biomimetic, bioinspired and bio-enabled materials</c:v>
                </c:pt>
                <c:pt idx="32">
                  <c:v>PE11_3 Engineering of ceramics and glasses</c:v>
                </c:pt>
                <c:pt idx="33">
                  <c:v>PE11_5 Engineering of composites and hybrid materials</c:v>
                </c:pt>
                <c:pt idx="34">
                  <c:v>PE11_8 Engineering of alternative established or emergent and textile materials also for innovative membranes</c:v>
                </c:pt>
                <c:pt idx="35">
                  <c:v>PE11_CNR_1 Engineering of materials for green energy applications</c:v>
                </c:pt>
                <c:pt idx="36">
                  <c:v>PE11_CNR_2 Engineering of functional materials</c:v>
                </c:pt>
                <c:pt idx="37">
                  <c:v>LS1_7 Molecular biophysics, biomechanics, bioenergetics</c:v>
                </c:pt>
                <c:pt idx="38">
                  <c:v>LS3_7 Mechanobiology of cells, tissues and organs</c:v>
                </c:pt>
                <c:pt idx="39">
                  <c:v>LS5_11 Neurological and neurodegenerative disorders</c:v>
                </c:pt>
                <c:pt idx="40">
                  <c:v>LS9_8 Applied plant sciences, plant breeding, agronomy, agrobiodiversity, agroecology and soil biology</c:v>
                </c:pt>
                <c:pt idx="41">
                  <c:v>SH7_6 Environmental and climate change; hazards, risks or disasters; societal impact and policy</c:v>
                </c:pt>
              </c:strCache>
            </c:strRef>
          </c:cat>
          <c:val>
            <c:numRef>
              <c:f>'Ambiti disciplinari'!$C$22:$C$403</c:f>
              <c:numCache>
                <c:formatCode>0</c:formatCode>
                <c:ptCount val="42"/>
                <c:pt idx="0">
                  <c:v>1</c:v>
                </c:pt>
                <c:pt idx="1">
                  <c:v>3</c:v>
                </c:pt>
                <c:pt idx="2">
                  <c:v>6</c:v>
                </c:pt>
                <c:pt idx="3">
                  <c:v>2</c:v>
                </c:pt>
                <c:pt idx="4">
                  <c:v>31</c:v>
                </c:pt>
                <c:pt idx="5">
                  <c:v>5</c:v>
                </c:pt>
                <c:pt idx="6">
                  <c:v>2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5</c:v>
                </c:pt>
                <c:pt idx="11">
                  <c:v>3</c:v>
                </c:pt>
                <c:pt idx="12">
                  <c:v>1</c:v>
                </c:pt>
                <c:pt idx="13">
                  <c:v>1</c:v>
                </c:pt>
                <c:pt idx="14">
                  <c:v>9</c:v>
                </c:pt>
                <c:pt idx="15">
                  <c:v>3</c:v>
                </c:pt>
                <c:pt idx="16">
                  <c:v>2</c:v>
                </c:pt>
                <c:pt idx="17">
                  <c:v>1</c:v>
                </c:pt>
                <c:pt idx="18">
                  <c:v>7</c:v>
                </c:pt>
                <c:pt idx="19">
                  <c:v>3</c:v>
                </c:pt>
                <c:pt idx="20">
                  <c:v>3</c:v>
                </c:pt>
                <c:pt idx="21">
                  <c:v>14</c:v>
                </c:pt>
                <c:pt idx="22">
                  <c:v>1</c:v>
                </c:pt>
                <c:pt idx="23">
                  <c:v>6</c:v>
                </c:pt>
                <c:pt idx="24">
                  <c:v>9</c:v>
                </c:pt>
                <c:pt idx="25">
                  <c:v>1</c:v>
                </c:pt>
                <c:pt idx="26">
                  <c:v>1</c:v>
                </c:pt>
                <c:pt idx="27">
                  <c:v>3</c:v>
                </c:pt>
                <c:pt idx="28">
                  <c:v>1</c:v>
                </c:pt>
                <c:pt idx="29">
                  <c:v>3</c:v>
                </c:pt>
                <c:pt idx="30">
                  <c:v>1</c:v>
                </c:pt>
                <c:pt idx="31">
                  <c:v>2</c:v>
                </c:pt>
                <c:pt idx="32">
                  <c:v>7</c:v>
                </c:pt>
                <c:pt idx="33">
                  <c:v>7</c:v>
                </c:pt>
                <c:pt idx="34">
                  <c:v>7</c:v>
                </c:pt>
                <c:pt idx="35">
                  <c:v>9</c:v>
                </c:pt>
                <c:pt idx="36">
                  <c:v>1</c:v>
                </c:pt>
                <c:pt idx="37">
                  <c:v>2</c:v>
                </c:pt>
                <c:pt idx="38">
                  <c:v>1</c:v>
                </c:pt>
                <c:pt idx="39">
                  <c:v>1</c:v>
                </c:pt>
                <c:pt idx="40">
                  <c:v>8</c:v>
                </c:pt>
                <c:pt idx="4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A-711A-43DE-954B-676AF161D9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10967823"/>
        <c:axId val="1710969071"/>
      </c:barChart>
      <c:catAx>
        <c:axId val="171096782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710969071"/>
        <c:crosses val="autoZero"/>
        <c:auto val="1"/>
        <c:lblAlgn val="ctr"/>
        <c:lblOffset val="100"/>
        <c:noMultiLvlLbl val="0"/>
      </c:catAx>
      <c:valAx>
        <c:axId val="1710969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 w="317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5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it-IT"/>
          </a:p>
        </c:txPr>
        <c:crossAx val="171096782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dk1" tx1="lt1" bg2="dk2" tx2="lt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it-IT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ore</a:t>
            </a:r>
            <a:r>
              <a:rPr lang="it-IT" sz="1200" b="1" baseline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azionale</a:t>
            </a:r>
          </a:p>
        </c:rich>
      </c:tx>
      <c:layout>
        <c:manualLayout>
          <c:xMode val="edge"/>
          <c:yMode val="edge"/>
          <c:x val="0.34903174540946968"/>
          <c:y val="6.436744853854890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view3D>
      <c:rotX val="30"/>
      <c:hPercent val="10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20655759627770584"/>
          <c:y val="0.37677603157247969"/>
          <c:w val="0.56161154275768732"/>
          <c:h val="0.46008251094173763"/>
        </c:manualLayout>
      </c:layout>
      <c:pie3DChart>
        <c:varyColors val="1"/>
        <c:ser>
          <c:idx val="0"/>
          <c:order val="0"/>
          <c:tx>
            <c:strRef>
              <c:f>Foglio1!$E$12</c:f>
              <c:strCache>
                <c:ptCount val="1"/>
                <c:pt idx="0">
                  <c:v> 12120: valore della produzione (migliaia di euro) 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4283-40C6-8566-DA46A017831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4283-40C6-8566-DA46A0178311}"/>
              </c:ext>
            </c:extLst>
          </c:dPt>
          <c:dPt>
            <c:idx val="2"/>
            <c:bubble3D val="0"/>
            <c:spPr>
              <a:solidFill>
                <a:srgbClr val="4EA72E"/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4283-40C6-8566-DA46A0178311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4283-40C6-8566-DA46A0178311}"/>
              </c:ext>
            </c:extLst>
          </c:dPt>
          <c:dPt>
            <c:idx val="4"/>
            <c:bubble3D val="0"/>
            <c:spPr>
              <a:solidFill>
                <a:schemeClr val="accent5">
                  <a:lumMod val="20000"/>
                  <a:lumOff val="80000"/>
                </a:schemeClr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4283-40C6-8566-DA46A0178311}"/>
              </c:ext>
            </c:extLst>
          </c:dPt>
          <c:dPt>
            <c:idx val="5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B-4283-40C6-8566-DA46A0178311}"/>
              </c:ext>
            </c:extLst>
          </c:dPt>
          <c:dLbls>
            <c:dLbl>
              <c:idx val="0"/>
              <c:layout>
                <c:manualLayout>
                  <c:x val="4.0437223499041705E-2"/>
                  <c:y val="-8.5354926868195791E-2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96945"/>
                        <a:gd name="adj2" fmla="val 1274"/>
                        <a:gd name="adj3" fmla="val 140483"/>
                        <a:gd name="adj4" fmla="val -30491"/>
                      </a:avLst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4283-40C6-8566-DA46A0178311}"/>
                </c:ext>
              </c:extLst>
            </c:dLbl>
            <c:dLbl>
              <c:idx val="1"/>
              <c:layout>
                <c:manualLayout>
                  <c:x val="8.3401773466773604E-2"/>
                  <c:y val="-7.6370197724175179E-2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47751"/>
                        <a:gd name="adj2" fmla="val 746"/>
                        <a:gd name="adj3" fmla="val 122662"/>
                        <a:gd name="adj4" fmla="val -53634"/>
                      </a:avLst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4283-40C6-8566-DA46A0178311}"/>
                </c:ext>
              </c:extLst>
            </c:dLbl>
            <c:dLbl>
              <c:idx val="2"/>
              <c:layout>
                <c:manualLayout>
                  <c:x val="6.3688627010990595E-2"/>
                  <c:y val="3.6837389490484498E-2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48866"/>
                        <a:gd name="adj2" fmla="val 1000"/>
                        <a:gd name="adj3" fmla="val 24606"/>
                        <a:gd name="adj4" fmla="val -42405"/>
                      </a:avLst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4283-40C6-8566-DA46A0178311}"/>
                </c:ext>
              </c:extLst>
            </c:dLbl>
            <c:dLbl>
              <c:idx val="3"/>
              <c:layout>
                <c:manualLayout>
                  <c:x val="8.8456426404153632E-2"/>
                  <c:y val="1.3477093716030833E-2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2828"/>
                        <a:gd name="adj2" fmla="val 2192"/>
                        <a:gd name="adj3" fmla="val -59331"/>
                        <a:gd name="adj4" fmla="val -99088"/>
                      </a:avLst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7-4283-40C6-8566-DA46A0178311}"/>
                </c:ext>
              </c:extLst>
            </c:dLbl>
            <c:dLbl>
              <c:idx val="4"/>
              <c:layout>
                <c:manualLayout>
                  <c:x val="-8.8456426404153757E-2"/>
                  <c:y val="0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2807"/>
                        <a:gd name="adj2" fmla="val 99299"/>
                        <a:gd name="adj3" fmla="val -42947"/>
                        <a:gd name="adj4" fmla="val 152098"/>
                      </a:avLst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9-4283-40C6-8566-DA46A0178311}"/>
                </c:ext>
              </c:extLst>
            </c:dLbl>
            <c:dLbl>
              <c:idx val="5"/>
              <c:layout>
                <c:manualLayout>
                  <c:x val="-2.7800591155591185E-2"/>
                  <c:y val="-0.11680147887226797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99158"/>
                        <a:gd name="adj2" fmla="val 99684"/>
                        <a:gd name="adj3" fmla="val 138790"/>
                        <a:gd name="adj4" fmla="val 123997"/>
                      </a:avLst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B-4283-40C6-8566-DA46A0178311}"/>
                </c:ext>
              </c:extLst>
            </c:dLbl>
            <c:spPr>
              <a:solidFill>
                <a:sysClr val="window" lastClr="FFFFFF"/>
              </a:solidFill>
              <a:ln w="6350">
                <a:solidFill>
                  <a:srgbClr val="000000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85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borderCallout1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(Foglio1!$B$13:$B$15,Foglio1!$B$17:$B$19)</c:f>
              <c:strCache>
                <c:ptCount val="6"/>
                <c:pt idx="0">
                  <c:v>Meccanica e automazione</c:v>
                </c:pt>
                <c:pt idx="1">
                  <c:v>Moda e Tessile</c:v>
                </c:pt>
                <c:pt idx="2">
                  <c:v>Legno e Arredo</c:v>
                </c:pt>
                <c:pt idx="3">
                  <c:v>Indotto</c:v>
                </c:pt>
                <c:pt idx="4">
                  <c:v>Altri settori manifatturieri</c:v>
                </c:pt>
                <c:pt idx="5">
                  <c:v>Altri settori non manifatturieri</c:v>
                </c:pt>
              </c:strCache>
            </c:strRef>
          </c:cat>
          <c:val>
            <c:numRef>
              <c:f>(Foglio1!$E$13:$E$15,Foglio1!$E$17:$E$19)</c:f>
              <c:numCache>
                <c:formatCode>0%</c:formatCode>
                <c:ptCount val="6"/>
                <c:pt idx="0">
                  <c:v>0.19765697874339727</c:v>
                </c:pt>
                <c:pt idx="1">
                  <c:v>3.4898386063931468E-2</c:v>
                </c:pt>
                <c:pt idx="2">
                  <c:v>1.4962970150246445E-2</c:v>
                </c:pt>
                <c:pt idx="3">
                  <c:v>0.23032395985439899</c:v>
                </c:pt>
                <c:pt idx="4">
                  <c:v>0.16358634967298616</c:v>
                </c:pt>
                <c:pt idx="5">
                  <c:v>0.358571355515039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283-40C6-8566-DA46A0178311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  <a:latin typeface="+mn-lt"/>
        </a:defRPr>
      </a:pPr>
      <a:endParaRPr lang="it-IT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dk1" tx1="lt1" bg2="dk2" tx2="lt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it-IT" sz="1200" b="1" baseline="0" noProof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menti</a:t>
            </a:r>
            <a:r>
              <a:rPr lang="it-IT" sz="1200" b="1" noProof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enerati</a:t>
            </a:r>
          </a:p>
        </c:rich>
      </c:tx>
      <c:layout>
        <c:manualLayout>
          <c:xMode val="edge"/>
          <c:yMode val="edge"/>
          <c:x val="0.30291814124314398"/>
          <c:y val="3.7858993834331161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view3D>
      <c:rotX val="30"/>
      <c:rotY val="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23544841313275044"/>
          <c:y val="0.34808292377803596"/>
          <c:w val="0.5293863329563282"/>
          <c:h val="0.47231882762934502"/>
        </c:manualLayout>
      </c:layout>
      <c:pie3DChart>
        <c:varyColors val="1"/>
        <c:ser>
          <c:idx val="0"/>
          <c:order val="0"/>
          <c:tx>
            <c:strRef>
              <c:f>Foglio1!$U$12</c:f>
              <c:strCache>
                <c:ptCount val="1"/>
                <c:pt idx="0">
                  <c:v>Investimenti Totali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D9E0-4E36-B8FF-B441F1A691E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D9E0-4E36-B8FF-B441F1A691E5}"/>
              </c:ext>
            </c:extLst>
          </c:dPt>
          <c:dPt>
            <c:idx val="2"/>
            <c:bubble3D val="0"/>
            <c:spPr>
              <a:solidFill>
                <a:srgbClr val="4EA72E"/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D9E0-4E36-B8FF-B441F1A691E5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D9E0-4E36-B8FF-B441F1A691E5}"/>
              </c:ext>
            </c:extLst>
          </c:dPt>
          <c:dPt>
            <c:idx val="4"/>
            <c:bubble3D val="0"/>
            <c:spPr>
              <a:solidFill>
                <a:schemeClr val="accent5">
                  <a:lumMod val="20000"/>
                  <a:lumOff val="80000"/>
                </a:schemeClr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D9E0-4E36-B8FF-B441F1A691E5}"/>
              </c:ext>
            </c:extLst>
          </c:dPt>
          <c:dPt>
            <c:idx val="5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B-D9E0-4E36-B8FF-B441F1A691E5}"/>
              </c:ext>
            </c:extLst>
          </c:dPt>
          <c:dLbls>
            <c:dLbl>
              <c:idx val="0"/>
              <c:layout>
                <c:manualLayout>
                  <c:x val="9.2670290780400594E-2"/>
                  <c:y val="-9.0787239746224643E-2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45986"/>
                        <a:gd name="adj2" fmla="val -2093"/>
                        <a:gd name="adj3" fmla="val 160596"/>
                        <a:gd name="adj4" fmla="val -66022"/>
                      </a:avLst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D9E0-4E36-B8FF-B441F1A691E5}"/>
                </c:ext>
              </c:extLst>
            </c:dLbl>
            <c:dLbl>
              <c:idx val="1"/>
              <c:layout>
                <c:manualLayout>
                  <c:x val="7.4651067573100291E-2"/>
                  <c:y val="-4.9932981860423595E-2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50287"/>
                        <a:gd name="adj2" fmla="val -744"/>
                        <a:gd name="adj3" fmla="val 110658"/>
                        <a:gd name="adj4" fmla="val -47717"/>
                      </a:avLst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D9E0-4E36-B8FF-B441F1A691E5}"/>
                </c:ext>
              </c:extLst>
            </c:dLbl>
            <c:dLbl>
              <c:idx val="2"/>
              <c:layout>
                <c:manualLayout>
                  <c:x val="8.3480486944677537E-2"/>
                  <c:y val="5.8794030917701724E-2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47764"/>
                        <a:gd name="adj2" fmla="val -416"/>
                        <a:gd name="adj3" fmla="val 13327"/>
                        <a:gd name="adj4" fmla="val -51737"/>
                      </a:avLst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D9E0-4E36-B8FF-B441F1A691E5}"/>
                </c:ext>
              </c:extLst>
            </c:dLbl>
            <c:dLbl>
              <c:idx val="3"/>
              <c:layout>
                <c:manualLayout>
                  <c:x val="9.7818640268200446E-2"/>
                  <c:y val="-5.9011705835046016E-2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56595"/>
                        <a:gd name="adj2" fmla="val -3876"/>
                        <a:gd name="adj3" fmla="val -16"/>
                        <a:gd name="adj4" fmla="val -119417"/>
                      </a:avLst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7-D9E0-4E36-B8FF-B441F1A691E5}"/>
                </c:ext>
              </c:extLst>
            </c:dLbl>
            <c:dLbl>
              <c:idx val="4"/>
              <c:layout>
                <c:manualLayout>
                  <c:x val="-9.4497954848569612E-2"/>
                  <c:y val="2.7871682602090966E-2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-1457"/>
                        <a:gd name="adj2" fmla="val 101496"/>
                        <a:gd name="adj3" fmla="val -57907"/>
                        <a:gd name="adj4" fmla="val 145307"/>
                      </a:avLst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9-D9E0-4E36-B8FF-B441F1A691E5}"/>
                </c:ext>
              </c:extLst>
            </c:dLbl>
            <c:dLbl>
              <c:idx val="5"/>
              <c:layout>
                <c:manualLayout>
                  <c:x val="-4.232977002687683E-2"/>
                  <c:y val="-0.13184130104548303"/>
                </c:manualLayout>
              </c:layout>
              <c:spPr>
                <a:solidFill>
                  <a:sysClr val="window" lastClr="FFFFFF"/>
                </a:solidFill>
                <a:ln w="6350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850" b="0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borderCallout1">
                      <a:avLst>
                        <a:gd name="adj1" fmla="val 101338"/>
                        <a:gd name="adj2" fmla="val 99980"/>
                        <a:gd name="adj3" fmla="val 131895"/>
                        <a:gd name="adj4" fmla="val 140583"/>
                      </a:avLst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B-D9E0-4E36-B8FF-B441F1A691E5}"/>
                </c:ext>
              </c:extLst>
            </c:dLbl>
            <c:spPr>
              <a:solidFill>
                <a:sysClr val="window" lastClr="FFFFFF"/>
              </a:solidFill>
              <a:ln w="6350">
                <a:solidFill>
                  <a:srgbClr val="000000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85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borderCallout1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(Foglio1!$B$13:$B$15,Foglio1!$B$17:$B$19)</c:f>
              <c:strCache>
                <c:ptCount val="6"/>
                <c:pt idx="0">
                  <c:v>Meccanica e automazione</c:v>
                </c:pt>
                <c:pt idx="1">
                  <c:v>Moda e Tessile</c:v>
                </c:pt>
                <c:pt idx="2">
                  <c:v>Legno e Arredo</c:v>
                </c:pt>
                <c:pt idx="3">
                  <c:v>Indotto</c:v>
                </c:pt>
                <c:pt idx="4">
                  <c:v>Altri settori manifatturieri</c:v>
                </c:pt>
                <c:pt idx="5">
                  <c:v>Altri settori non manifatturieri</c:v>
                </c:pt>
              </c:strCache>
            </c:strRef>
          </c:cat>
          <c:val>
            <c:numRef>
              <c:f>(Foglio1!$U$13:$U$15,Foglio1!$U$17:$U$19)</c:f>
              <c:numCache>
                <c:formatCode>0%</c:formatCode>
                <c:ptCount val="6"/>
                <c:pt idx="0">
                  <c:v>0.15238532709822486</c:v>
                </c:pt>
                <c:pt idx="1">
                  <c:v>1.8113254253168804E-2</c:v>
                </c:pt>
                <c:pt idx="2">
                  <c:v>9.6334199517566447E-3</c:v>
                </c:pt>
                <c:pt idx="3">
                  <c:v>0.26125451613030737</c:v>
                </c:pt>
                <c:pt idx="4">
                  <c:v>0.14340985461992409</c:v>
                </c:pt>
                <c:pt idx="5">
                  <c:v>0.415203627946618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9E0-4E36-B8FF-B441F1A691E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  <a:latin typeface="+mn-lt"/>
        </a:defRPr>
      </a:pPr>
      <a:endParaRPr lang="it-IT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50000"/>
            <a:lumOff val="50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4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50000"/>
            <a:lumOff val="50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4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B54D37C-39A2-4118-8CE5-F15E0C62F703}" type="datetimeFigureOut">
              <a:rPr lang="en-GB" smtClean="0"/>
              <a:t>01/04/2025</a:t>
            </a:fld>
            <a:endParaRPr lang="en-GB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GB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77CBAC7-A3F9-48AD-B062-2E3B8B38DEBF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47677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noProof="0" dirty="0"/>
              <a:t>Proposta aggregazione,</a:t>
            </a:r>
            <a:r>
              <a:rPr lang="it-IT" baseline="0" noProof="0" dirty="0"/>
              <a:t> </a:t>
            </a:r>
            <a:r>
              <a:rPr lang="it-IT" b="1" baseline="0" noProof="0" dirty="0"/>
              <a:t>metodologia</a:t>
            </a:r>
            <a:r>
              <a:rPr lang="it-IT" baseline="0" noProof="0" dirty="0"/>
              <a:t> di lavoro, </a:t>
            </a:r>
            <a:r>
              <a:rPr lang="it-IT" b="1" baseline="0" noProof="0" dirty="0"/>
              <a:t>identificazione</a:t>
            </a:r>
            <a:r>
              <a:rPr lang="it-IT" baseline="0" noProof="0" dirty="0"/>
              <a:t> </a:t>
            </a:r>
            <a:r>
              <a:rPr lang="it-IT" b="1" baseline="0" noProof="0" dirty="0"/>
              <a:t>criticità</a:t>
            </a:r>
            <a:r>
              <a:rPr lang="it-IT" baseline="0" noProof="0" dirty="0"/>
              <a:t>, necessità, </a:t>
            </a:r>
            <a:r>
              <a:rPr lang="it-IT" b="1" baseline="0" noProof="0" dirty="0"/>
              <a:t>innovazione</a:t>
            </a:r>
            <a:r>
              <a:rPr lang="it-IT" baseline="0" noProof="0" dirty="0"/>
              <a:t>, settori </a:t>
            </a:r>
            <a:r>
              <a:rPr lang="it-IT" b="1" baseline="0" noProof="0" dirty="0"/>
              <a:t>principali manifatturiero avanzato</a:t>
            </a:r>
            <a:r>
              <a:rPr lang="it-IT" baseline="0" noProof="0" dirty="0"/>
              <a:t>, incluso High-Tech, </a:t>
            </a:r>
            <a:r>
              <a:rPr lang="it-IT" b="1" baseline="0" noProof="0" dirty="0"/>
              <a:t>ricognizione</a:t>
            </a:r>
            <a:r>
              <a:rPr lang="it-IT" baseline="0" noProof="0" dirty="0"/>
              <a:t>, progettualità PNRR-CNR, </a:t>
            </a:r>
            <a:r>
              <a:rPr lang="it-IT" b="1" baseline="0" noProof="0" dirty="0"/>
              <a:t>risposta, soluzioni</a:t>
            </a:r>
            <a:r>
              <a:rPr lang="it-IT" baseline="0" noProof="0" dirty="0"/>
              <a:t>, </a:t>
            </a:r>
            <a:endParaRPr lang="it-IT" noProof="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86656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0C43BA-0659-E50F-E410-4F577350A8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4A8A14A5-658F-FFBF-27F1-FF5B0E6D059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286FF9E2-0A0E-0240-CF07-DC54B06F996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b="1" noProof="0" dirty="0"/>
              <a:t>Collaborazioni</a:t>
            </a:r>
            <a:r>
              <a:rPr lang="it-IT" noProof="0" dirty="0"/>
              <a:t> pubblico / private già attivate nel periodo con i progetti aggregati: &gt; di 30 Università / Istituzioni di Ricerca e 34 Imprese private.</a:t>
            </a:r>
            <a:r>
              <a:rPr lang="it-IT" baseline="0" noProof="0" dirty="0"/>
              <a:t> </a:t>
            </a:r>
          </a:p>
          <a:p>
            <a:r>
              <a:rPr lang="it-IT" sz="1800" b="1" dirty="0">
                <a:solidFill>
                  <a:srgbClr val="4C94D8"/>
                </a:solidFill>
                <a:effectLst/>
                <a:highlight>
                  <a:srgbClr val="00FF00"/>
                </a:highlight>
                <a:latin typeface="Calibri" panose="020F0502020204030204" pitchFamily="34" charset="0"/>
                <a:ea typeface="Aptos" panose="020B0004020202020204" pitchFamily="34" charset="0"/>
              </a:rPr>
              <a:t>Livello di interesse </a:t>
            </a:r>
            <a:r>
              <a:rPr lang="it-IT" sz="1800" dirty="0">
                <a:solidFill>
                  <a:srgbClr val="4C94D8"/>
                </a:solidFill>
                <a:effectLst/>
                <a:highlight>
                  <a:srgbClr val="00FF00"/>
                </a:highlight>
                <a:latin typeface="Calibri" panose="020F0502020204030204" pitchFamily="34" charset="0"/>
                <a:ea typeface="Aptos" panose="020B0004020202020204" pitchFamily="34" charset="0"/>
              </a:rPr>
              <a:t>(disponibilità a partecipare e grado di coinvolgimento nell’aggregazione) ed il </a:t>
            </a:r>
            <a:r>
              <a:rPr lang="it-IT" sz="1800" b="1" dirty="0">
                <a:solidFill>
                  <a:srgbClr val="4C94D8"/>
                </a:solidFill>
                <a:effectLst/>
                <a:highlight>
                  <a:srgbClr val="00FF00"/>
                </a:highlight>
                <a:latin typeface="Calibri" panose="020F0502020204030204" pitchFamily="34" charset="0"/>
                <a:ea typeface="Aptos" panose="020B0004020202020204" pitchFamily="34" charset="0"/>
              </a:rPr>
              <a:t>Livello di impatto </a:t>
            </a:r>
            <a:r>
              <a:rPr lang="it-IT" sz="1800" dirty="0">
                <a:solidFill>
                  <a:srgbClr val="4C94D8"/>
                </a:solidFill>
                <a:effectLst/>
                <a:highlight>
                  <a:srgbClr val="00FF00"/>
                </a:highlight>
                <a:latin typeface="Calibri" panose="020F0502020204030204" pitchFamily="34" charset="0"/>
                <a:ea typeface="Aptos" panose="020B0004020202020204" pitchFamily="34" charset="0"/>
              </a:rPr>
              <a:t>(capacità di influire sugli obiettivi scientifici dell'aggregazione e sulle prospettive future) </a:t>
            </a:r>
            <a:endParaRPr lang="it-IT" noProof="0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F6374173-0350-02EB-3D07-25160CBF8F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63990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410D40-A2EA-9539-72F4-BA773C934F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77E485BA-1325-DE62-FC86-035934B149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687E9572-3EBF-58C5-2EEA-9370F5B16A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b="1" noProof="0" dirty="0"/>
              <a:t>Partner privati coinvolgibili</a:t>
            </a:r>
            <a:endParaRPr lang="it-IT" noProof="0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CF3A46E2-8BA1-5526-7BEA-55A33A9C100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05290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0E449F-40C0-73CB-3F38-4A0FD2AF8F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B2838B6E-2844-21E9-52FB-685B40D377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46E8C5FE-3976-D801-D40B-7C154CF45D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b="1" noProof="0" dirty="0"/>
              <a:t>SWOT </a:t>
            </a:r>
            <a:r>
              <a:rPr lang="it-IT" b="1" noProof="0" dirty="0" err="1"/>
              <a:t>analysis</a:t>
            </a:r>
            <a:endParaRPr lang="it-IT" noProof="0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0CD17418-396E-7BCE-DE07-F187FEBCE3C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0393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90D249-4C3E-A3F2-910F-5C313F5103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5E40C4F7-A98E-3936-7817-ECA5E50EF3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E0FE8191-B6F0-62DB-76B4-4CCC13F7FF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noProof="0" dirty="0"/>
              <a:t>Questi settori generano circa il 50% del </a:t>
            </a:r>
            <a:r>
              <a:rPr lang="it-IT" b="1" noProof="0" dirty="0"/>
              <a:t>PIL</a:t>
            </a:r>
            <a:r>
              <a:rPr lang="it-IT" noProof="0" dirty="0"/>
              <a:t> nazionale, incluso l'indotto, ed assorbono circa il 45% del </a:t>
            </a:r>
            <a:r>
              <a:rPr lang="it-IT" b="1" noProof="0" dirty="0"/>
              <a:t>CAPEX</a:t>
            </a:r>
            <a:r>
              <a:rPr lang="it-IT" noProof="0" dirty="0"/>
              <a:t>.</a:t>
            </a:r>
            <a:r>
              <a:rPr lang="it-IT" baseline="0" noProof="0" dirty="0"/>
              <a:t> </a:t>
            </a:r>
            <a:r>
              <a:rPr lang="it-IT" noProof="0" dirty="0"/>
              <a:t>Grandi capacità di </a:t>
            </a:r>
            <a:r>
              <a:rPr lang="it-IT" b="1" noProof="0" dirty="0"/>
              <a:t>espansione</a:t>
            </a:r>
            <a:r>
              <a:rPr lang="it-IT" noProof="0" dirty="0"/>
              <a:t> ad altre industrie nel settore. </a:t>
            </a:r>
          </a:p>
          <a:p>
            <a:r>
              <a:rPr lang="it-IT" noProof="0" dirty="0"/>
              <a:t>quattro settori industriali principali: Moda, Arredamento, Alta tecnologia e Alimentare. Particolarmente, i </a:t>
            </a:r>
            <a:r>
              <a:rPr lang="it-IT" b="1" noProof="0" dirty="0"/>
              <a:t>codici ATECO </a:t>
            </a:r>
            <a:r>
              <a:rPr lang="it-IT" noProof="0" dirty="0"/>
              <a:t>(Edizione 2025) dal numero 13 al numero 32 includono i settori  della fabbricazione di prodotti per l’ Abbigliamento-Moda (es. pelletteria, tessile, calzature, occhiali e accessori), l'Arredamento (es. mobili e interni, ceramiche, suppellettili), l’High-Tech (es. meccatronica, macchinari, materie plastiche, sanitari, farmaceutici, vernici, metalli, telecomunicazioni, solventi), l’Energia (es. elettronica, batterie, magneti, autoveicoli, condizionatori, automotive). </a:t>
            </a:r>
          </a:p>
          <a:p>
            <a:endParaRPr lang="it-IT" noProof="0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23923FBF-A362-BC0F-4650-B131D13310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11606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06812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35D5E3-4883-F792-139B-E875E8089D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2818E440-81E4-7123-F867-0A9E373FA3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49EDD785-23A7-EB2A-A812-E2E66140FF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noProof="0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DD19B490-8C3C-D619-6572-CBDAE43195B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08040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9DBB74-2B0A-2216-1517-EB4EA905A9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601D7868-1D09-C826-76C1-EAE2B81B1E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608B62A8-9FFE-5588-B67A-1AB4C410218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noProof="0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E2A50881-A2BF-999D-7C2F-D30C9D70AE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02230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atiche. Concordate, Circolarità</a:t>
            </a: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inimizzazione dei consumi energetici e dello sfruttamento di materie prime critiche, la </a:t>
            </a:r>
            <a:r>
              <a:rPr lang="it-IT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arbonizzazione</a:t>
            </a: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l’industria di processo</a:t>
            </a: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l’utilizzo di materiali di scarto e di materie prime seconde, tecnologie di riciclo, finalizzati allo sviluppo dell’Economia Circolare ed alla Sostenibilità del sistema industriale italiano, </a:t>
            </a: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sversale</a:t>
            </a: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disciplinare</a:t>
            </a:r>
            <a:endParaRPr lang="en-GB" b="1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43707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iniziative PNNR,</a:t>
            </a:r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94177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F634D9-5C36-2B80-4CBC-B3BF623039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03170F09-3662-A4D1-AA40-B67B64685E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4F5E21A5-33BE-486C-0DD3-3760BF11FB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ibuto progetti e Spoke. </a:t>
            </a:r>
            <a:r>
              <a:rPr lang="it-IT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stuttura</a:t>
            </a: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 ricerca </a:t>
            </a:r>
            <a:endParaRPr lang="en-GB" b="1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ED77CA7-6D5A-D1E7-0B5D-9BA47CCE0B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91767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temente aggregante </a:t>
            </a: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Dipartimenti, 29 Istituti</a:t>
            </a:r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79100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473F4F-78C0-956F-3B51-728E55FB4F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38483637-9203-BB00-80B4-CE08AD087B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A5E0B24B-920B-0CB4-B544-2E8F11853D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temente aggregante </a:t>
            </a: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Dipartimenti, 29 Istituti</a:t>
            </a:r>
            <a:endParaRPr lang="en-GB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EA067B1D-828E-17FA-0366-BAE266313AB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62981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E9E742-453C-28DF-1D89-01EEE9B603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59B30BFB-70A5-86DE-FAB0-23C3739BBC9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4CC4B089-8048-64B9-D113-40D072A56F2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iniziative PNNR, consistenza economica</a:t>
            </a:r>
            <a:endParaRPr lang="en-GB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BBD4687D-20CF-07F9-0B39-ED1E7841B3B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95535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73827B-3A10-F661-0C35-43D6F034BC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7EB92851-D1E3-C4A4-EE99-5DDB2453A7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C9674B80-04AE-3A67-9D2F-C1A814B655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55 TI e 95 RTD</a:t>
            </a:r>
            <a:endParaRPr lang="en-GB" b="1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4094081F-F91F-2F5F-9794-51BA4A4D5D9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03819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9 pubblicazioni </a:t>
            </a: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 contributo </a:t>
            </a: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TD</a:t>
            </a: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sversalità</a:t>
            </a: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o RTD</a:t>
            </a: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reponderanza </a:t>
            </a:r>
            <a:r>
              <a:rPr lang="en-U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5 Synthetic Chemistry and </a:t>
            </a:r>
            <a:r>
              <a:rPr lang="it-IT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erials</a:t>
            </a: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PE3, </a:t>
            </a: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contro</a:t>
            </a: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mbito proposto dal CNR  </a:t>
            </a: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5_CNR1_</a:t>
            </a: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en </a:t>
            </a:r>
            <a:r>
              <a:rPr lang="it-IT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mistry</a:t>
            </a: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it-IT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rcular</a:t>
            </a: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conomy. </a:t>
            </a: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ù di 500 totali</a:t>
            </a:r>
            <a:endParaRPr lang="it-IT" b="1" noProof="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7CBAC7-A3F9-48AD-B062-2E3B8B38DEBF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2710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18981A7-0EC3-CDA6-D7BF-9400799BB1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05FAF45B-4237-E3BF-D162-882FC3D20C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AC2B7BB-FBBA-8ABB-9973-BFA40436DE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E3E926-7608-48AF-8239-B78E162C1B6F}" type="datetime1">
              <a:rPr lang="it-IT" smtClean="0"/>
              <a:t>01/04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FB71CAF-4141-9F8E-C1B6-D3B0ECF59C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37076649-7A3C-DE7D-A97A-D8AB027F7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582037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2FC1F9D-DFAF-A590-C10C-862C3C9920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47B9A45C-1FBD-5EF8-0B01-F6874F2625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197F2F7-A940-6984-5FB7-949992F0D3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9BDA84-9759-416C-B691-B510E99C468C}" type="datetime1">
              <a:rPr lang="it-IT" smtClean="0"/>
              <a:t>01/04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4FFC4AC-8B27-6CE5-E101-EDE51713F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7A00479-C489-DA86-FC16-9658203151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354397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CD47E374-B7D4-BB0F-1531-68A38B1DF36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56747F66-93B1-8CE2-9044-228914AB6D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EBCA747C-FA5A-959E-CC88-0FE40CD957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EE2A2-DC64-44E7-A09E-61D52887E244}" type="datetime1">
              <a:rPr lang="it-IT" smtClean="0"/>
              <a:t>01/04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27CB33EB-2854-1D3D-F431-E91AC8622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7FF57B8-BCA8-081D-6FF8-BD94509E2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978709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7D8E04E-E54E-1DEE-4299-355488D17D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F479491B-0AE9-E825-7400-C782515009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748350C-04B6-1ADA-31F0-61BEF2B7B7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9605A-9E87-4478-BE10-1D5D7075A5BB}" type="datetime1">
              <a:rPr lang="it-IT" smtClean="0"/>
              <a:t>01/04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F182D9C-574B-FA2A-228B-1EE4CD22AA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697EA49-3030-8573-EEE4-0B1267BF69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10266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633A9C6-2CC2-C7C0-55EC-584ABCD57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B24DDA9C-9AAC-A825-EEAC-82AEB09618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9C876C8-EC31-6803-2459-5C6AFBAB69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AE67A-D525-4ADD-A0FF-B9142E1B26E8}" type="datetime1">
              <a:rPr lang="it-IT" smtClean="0"/>
              <a:t>01/04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B07BE7DE-F2B1-B467-597D-B11A2DA9D4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E50568A-D7E2-E796-4474-5AED92B95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040461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6E87C44-AA52-50FB-CAA5-4803FE9017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A762A086-B7E7-2E6B-4F08-884ECFB33B3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86EAD39F-C931-7865-E95E-FEFB6849B7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85CF320A-0567-B042-A24F-654C656679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9946C-2332-4FAD-9126-B1579584307B}" type="datetime1">
              <a:rPr lang="it-IT" smtClean="0"/>
              <a:t>01/04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B266CE6-C481-467E-AE7E-5B34833FCF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FD4B8B7-AF7C-0161-CAB3-8BFAF16089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444964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79F49DF-740E-9DA7-FCEB-E0BF37D712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905B502D-1EBA-B2FA-DE56-E34210FD51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E8CF3ED7-B354-7802-0088-A13B6CD2C0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55BD2848-D581-BF39-1166-78DEB3958D3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B490895E-1249-AD34-274E-6D54FE9CDE3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E471F731-352A-E25F-D067-0D3830A57B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296D8-3772-4AD6-9A7C-3FB9D3E17770}" type="datetime1">
              <a:rPr lang="it-IT" smtClean="0"/>
              <a:t>01/04/2025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35C4C2AF-A04D-B092-3D2B-CF74BF062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C808D07E-A9BB-C25A-F626-E6E2FF555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545317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A92BAF0-A434-4CAA-1C8C-2B6B990B54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1B6EF19E-E101-9CBB-66F8-80D3656AB1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1B95E6-7908-4D53-91B6-96CDFA3FD744}" type="datetime1">
              <a:rPr lang="it-IT" smtClean="0"/>
              <a:t>01/04/2025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7B90346C-340E-72F7-2AE4-A5C90AE9AA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DD15EC9D-AB7B-5BB4-E867-4354629B35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744431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D0F4CFAF-1AB0-3386-CF7D-F411F996C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EA984-937E-4A3D-A180-7E4423694EC4}" type="datetime1">
              <a:rPr lang="it-IT" smtClean="0"/>
              <a:t>01/04/2025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B6DEF715-6081-B61C-0E74-AE49BC1092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89FA1BE2-F64F-DC58-6CB5-9A74CC59F6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792981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9854BE7-5DE3-9921-57C6-7D0EE2F70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34EB84BD-9A54-7B5F-F8EE-E21C27C17B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A70F13F9-00C7-6957-A58A-EF2600E1FBD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DBC31324-AB86-82B1-56A5-96B08D1512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BECBCA-92F8-4E5F-BC61-2B67FECC9F4F}" type="datetime1">
              <a:rPr lang="it-IT" smtClean="0"/>
              <a:t>01/04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DA063D8-46F8-DAA6-EBF1-6E9C7F6EC2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9F174032-CA17-0BEC-4182-EF5AF298E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752088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5DDA6AD-88AA-A231-FD7A-770325E17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D3931D8-FE69-8141-105E-E4F133AEA9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E5496C47-181B-0B3A-DBBB-6C30D1C041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85484FAE-66F3-50A3-AFC5-C58230A5BB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20C524-C21A-4AEA-9532-5D32DF0F43C7}" type="datetime1">
              <a:rPr lang="it-IT" smtClean="0"/>
              <a:t>01/04/2025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40C0E07B-8681-3023-CDFC-607BC232D4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118E912F-0FCC-85B1-B8D5-E984362DF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09925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68ACE82D-3DBF-C63B-2E1E-29110CE344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8B37B2E3-709D-6548-FBC5-4E6D774A9E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3B320CB-EF21-40B6-1A01-4C93A124D5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C3E3E0A-0619-4488-B829-15B94F79C911}" type="datetime1">
              <a:rPr lang="it-IT" smtClean="0"/>
              <a:t>01/04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E0E1396-32B9-EEE8-AD0E-19FA45E02F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DE8111A-CDCB-3E03-71F0-92ADAACAD3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2770BED-07F9-418C-BAF4-C0710BE2157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64449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emf"/><Relationship Id="rId5" Type="http://schemas.openxmlformats.org/officeDocument/2006/relationships/image" Target="../media/image24.emf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emf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bin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1.png"/><Relationship Id="rId7" Type="http://schemas.openxmlformats.org/officeDocument/2006/relationships/image" Target="../media/image13.png"/><Relationship Id="rId12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6.png"/><Relationship Id="rId5" Type="http://schemas.openxmlformats.org/officeDocument/2006/relationships/image" Target="../media/image3.png"/><Relationship Id="rId10" Type="http://schemas.openxmlformats.org/officeDocument/2006/relationships/image" Target="../media/image15.png"/><Relationship Id="rId4" Type="http://schemas.openxmlformats.org/officeDocument/2006/relationships/image" Target="../media/image2.png"/><Relationship Id="rId9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2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10" Type="http://schemas.openxmlformats.org/officeDocument/2006/relationships/image" Target="../media/image22.jpeg"/><Relationship Id="rId4" Type="http://schemas.openxmlformats.org/officeDocument/2006/relationships/image" Target="../media/image3.png"/><Relationship Id="rId9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B6EF73-238F-D8F0-4C08-44817D9AD2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>
            <a:extLst>
              <a:ext uri="{FF2B5EF4-FFF2-40B4-BE49-F238E27FC236}">
                <a16:creationId xmlns:a16="http://schemas.microsoft.com/office/drawing/2014/main" id="{CA2F8F42-6A5C-CE20-A334-6371A4A7F10A}"/>
              </a:ext>
            </a:extLst>
          </p:cNvPr>
          <p:cNvSpPr/>
          <p:nvPr/>
        </p:nvSpPr>
        <p:spPr>
          <a:xfrm>
            <a:off x="624" y="0"/>
            <a:ext cx="12192000" cy="546962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Inserite </a:t>
            </a:r>
            <a:r>
              <a:rPr lang="it-IT"/>
              <a:t>immagine a</a:t>
            </a:r>
            <a:endParaRPr lang="it-IT" dirty="0"/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13B7032C-F17B-9072-7324-56E736711D3F}"/>
              </a:ext>
            </a:extLst>
          </p:cNvPr>
          <p:cNvSpPr txBox="1"/>
          <p:nvPr/>
        </p:nvSpPr>
        <p:spPr>
          <a:xfrm>
            <a:off x="476313" y="5658153"/>
            <a:ext cx="11239373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>
              <a:defRPr/>
            </a:pPr>
            <a:r>
              <a:rPr lang="it-IT" sz="1400" i="1" dirty="0">
                <a:solidFill>
                  <a:srgbClr val="002060"/>
                </a:solidFill>
              </a:rPr>
              <a:t>Strategie per la sostenibilità e circolarità del sistema industriale italiano: processi verdi e materiali innovativi da fonti residuali e non-critiche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3D046162-EC55-EBB5-A02E-96E22B389234}"/>
              </a:ext>
            </a:extLst>
          </p:cNvPr>
          <p:cNvSpPr txBox="1"/>
          <p:nvPr/>
        </p:nvSpPr>
        <p:spPr>
          <a:xfrm>
            <a:off x="317904" y="1243864"/>
            <a:ext cx="4781605" cy="3539430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spAutoFit/>
          </a:bodyPr>
          <a:lstStyle/>
          <a:p>
            <a:pPr algn="ctr">
              <a:defRPr/>
            </a:pPr>
            <a:r>
              <a:rPr lang="it-IT" sz="3200" b="1" dirty="0">
                <a:solidFill>
                  <a:schemeClr val="bg1"/>
                </a:solidFill>
                <a:latin typeface="Century Gothic"/>
                <a:ea typeface="Roboto Slab Black"/>
              </a:rPr>
              <a:t>Gruppo di lavoro </a:t>
            </a:r>
          </a:p>
          <a:p>
            <a:pPr algn="ctr">
              <a:defRPr/>
            </a:pPr>
            <a:r>
              <a:rPr lang="it-IT" sz="2400" b="1" dirty="0">
                <a:solidFill>
                  <a:srgbClr val="0F283D"/>
                </a:solidFill>
                <a:latin typeface="Source Sans Pro"/>
                <a:ea typeface="Source Sans Pro"/>
              </a:rPr>
              <a:t>2° workshop  "Sostenibilità PNRR@CNR" della comunità scientifica CNR impegnata nei progetti PNRR (M4C2/M6/M2/PNC/IR)</a:t>
            </a:r>
          </a:p>
          <a:p>
            <a:pPr algn="ctr">
              <a:defRPr/>
            </a:pPr>
            <a:endParaRPr lang="it-IT" sz="1600" b="1" dirty="0">
              <a:solidFill>
                <a:srgbClr val="5B5D53"/>
              </a:solidFill>
              <a:latin typeface="Source Sans Pro"/>
              <a:ea typeface="Source Sans Pro"/>
            </a:endParaRPr>
          </a:p>
          <a:p>
            <a:pPr algn="ctr">
              <a:defRPr/>
            </a:pPr>
            <a:r>
              <a:rPr lang="it-IT" sz="1600" b="1" dirty="0">
                <a:solidFill>
                  <a:srgbClr val="5B5D53"/>
                </a:solidFill>
                <a:latin typeface="Source Sans Pro"/>
                <a:ea typeface="Source Sans Pro"/>
              </a:rPr>
              <a:t>3 aprile 2025</a:t>
            </a:r>
            <a:endParaRPr lang="it-IT" sz="1600" b="1" dirty="0"/>
          </a:p>
          <a:p>
            <a:pPr algn="ctr">
              <a:defRPr/>
            </a:pPr>
            <a:r>
              <a:rPr lang="it-IT" sz="1600" b="1" dirty="0">
                <a:solidFill>
                  <a:srgbClr val="5B5D53"/>
                </a:solidFill>
                <a:latin typeface="Source Sans Pro"/>
                <a:ea typeface="Source Sans Pro"/>
              </a:rPr>
              <a:t>CNR - Area della Ricerca di Bologna</a:t>
            </a:r>
            <a:endParaRPr lang="it-IT" sz="1600" b="1" dirty="0"/>
          </a:p>
          <a:p>
            <a:pPr algn="ctr">
              <a:defRPr/>
            </a:pPr>
            <a:endParaRPr lang="it-IT" sz="2400" b="1" dirty="0">
              <a:solidFill>
                <a:srgbClr val="0F283D"/>
              </a:solidFill>
              <a:latin typeface="Source Sans Pro"/>
              <a:ea typeface="Source Sans Pro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505A5601-A229-5872-7FFB-9D26B61A850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836" t="25309" r="1149" b="28435"/>
          <a:stretch/>
        </p:blipFill>
        <p:spPr>
          <a:xfrm>
            <a:off x="624" y="907"/>
            <a:ext cx="11953098" cy="683125"/>
          </a:xfrm>
          <a:prstGeom prst="rect">
            <a:avLst/>
          </a:prstGeom>
        </p:spPr>
      </p:pic>
      <p:sp>
        <p:nvSpPr>
          <p:cNvPr id="11" name="Segnaposto piè di pagina 10">
            <a:extLst>
              <a:ext uri="{FF2B5EF4-FFF2-40B4-BE49-F238E27FC236}">
                <a16:creationId xmlns:a16="http://schemas.microsoft.com/office/drawing/2014/main" id="{4592C821-DC78-0C2A-F329-59F9D24025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7960" y="6429697"/>
            <a:ext cx="1630680" cy="365125"/>
          </a:xfrm>
        </p:spPr>
        <p:txBody>
          <a:bodyPr/>
          <a:lstStyle/>
          <a:p>
            <a:r>
              <a:rPr lang="it-IT" dirty="0"/>
              <a:t>Bologna - 03/04/2025</a:t>
            </a:r>
          </a:p>
        </p:txBody>
      </p:sp>
    </p:spTree>
    <p:extLst>
      <p:ext uri="{BB962C8B-B14F-4D97-AF65-F5344CB8AC3E}">
        <p14:creationId xmlns:p14="http://schemas.microsoft.com/office/powerpoint/2010/main" val="26450519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afico 1">
            <a:extLst>
              <a:ext uri="{FF2B5EF4-FFF2-40B4-BE49-F238E27FC236}">
                <a16:creationId xmlns:a16="http://schemas.microsoft.com/office/drawing/2014/main" id="{AA58E56F-B6DD-40B0-9151-0B114EB16FD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9079442"/>
              </p:ext>
            </p:extLst>
          </p:nvPr>
        </p:nvGraphicFramePr>
        <p:xfrm>
          <a:off x="376424" y="892675"/>
          <a:ext cx="6618142" cy="54717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Rettangolo 9"/>
          <p:cNvSpPr/>
          <p:nvPr/>
        </p:nvSpPr>
        <p:spPr>
          <a:xfrm>
            <a:off x="306000" y="384336"/>
            <a:ext cx="30059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ubblicazioni scientifiche</a:t>
            </a:r>
            <a:endParaRPr lang="en-GB" dirty="0"/>
          </a:p>
        </p:txBody>
      </p:sp>
      <p:pic>
        <p:nvPicPr>
          <p:cNvPr id="17" name="Immagine 16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18240" cy="324000"/>
          </a:xfrm>
          <a:prstGeom prst="rect">
            <a:avLst/>
          </a:prstGeom>
        </p:spPr>
      </p:pic>
      <p:pic>
        <p:nvPicPr>
          <p:cNvPr id="18" name="Immagine 17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312932"/>
            <a:ext cx="11618232" cy="25200"/>
          </a:xfrm>
          <a:prstGeom prst="rect">
            <a:avLst/>
          </a:prstGeom>
        </p:spPr>
      </p:pic>
      <p:graphicFrame>
        <p:nvGraphicFramePr>
          <p:cNvPr id="9" name="Tabel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0193479"/>
              </p:ext>
            </p:extLst>
          </p:nvPr>
        </p:nvGraphicFramePr>
        <p:xfrm>
          <a:off x="7626201" y="903848"/>
          <a:ext cx="4090671" cy="298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3557">
                  <a:extLst>
                    <a:ext uri="{9D8B030D-6E8A-4147-A177-3AD203B41FA5}">
                      <a16:colId xmlns:a16="http://schemas.microsoft.com/office/drawing/2014/main" val="3300702004"/>
                    </a:ext>
                  </a:extLst>
                </a:gridCol>
                <a:gridCol w="1363557">
                  <a:extLst>
                    <a:ext uri="{9D8B030D-6E8A-4147-A177-3AD203B41FA5}">
                      <a16:colId xmlns:a16="http://schemas.microsoft.com/office/drawing/2014/main" val="141131690"/>
                    </a:ext>
                  </a:extLst>
                </a:gridCol>
                <a:gridCol w="1363557">
                  <a:extLst>
                    <a:ext uri="{9D8B030D-6E8A-4147-A177-3AD203B41FA5}">
                      <a16:colId xmlns:a16="http://schemas.microsoft.com/office/drawing/2014/main" val="2040783545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l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7620" marT="36000" marB="36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blicazioni</a:t>
                      </a:r>
                    </a:p>
                  </a:txBody>
                  <a:tcPr marL="72000" marR="72000" marT="36000" marB="36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TD coinvolti</a:t>
                      </a:r>
                    </a:p>
                  </a:txBody>
                  <a:tcPr marL="72000" marR="72000" marT="36000" marB="3600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38814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CS</a:t>
                      </a:r>
                    </a:p>
                  </a:txBody>
                  <a:tcPr marL="90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716615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ST</a:t>
                      </a:r>
                    </a:p>
                  </a:txBody>
                  <a:tcPr marL="90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98179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ritech</a:t>
                      </a:r>
                    </a:p>
                  </a:txBody>
                  <a:tcPr marL="90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462194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OSISTER</a:t>
                      </a:r>
                    </a:p>
                  </a:txBody>
                  <a:tcPr marL="90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53482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MOTHRACE</a:t>
                      </a:r>
                    </a:p>
                  </a:txBody>
                  <a:tcPr marL="90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213014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4You</a:t>
                      </a:r>
                    </a:p>
                  </a:txBody>
                  <a:tcPr marL="90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339518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ENTRANCE</a:t>
                      </a:r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90000" marR="57600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755208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90000" marR="7620" marT="36000" marB="36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9</a:t>
                      </a:r>
                    </a:p>
                  </a:txBody>
                  <a:tcPr marL="90000" marR="576000" marT="36000" marB="36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</a:t>
                      </a:r>
                    </a:p>
                  </a:txBody>
                  <a:tcPr marL="90000" marR="576000" marT="36000" marB="3600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5088774"/>
                  </a:ext>
                </a:extLst>
              </a:tr>
            </a:tbl>
          </a:graphicData>
        </a:graphic>
      </p:graphicFrame>
      <p:pic>
        <p:nvPicPr>
          <p:cNvPr id="5" name="Immagine 4">
            <a:extLst>
              <a:ext uri="{FF2B5EF4-FFF2-40B4-BE49-F238E27FC236}">
                <a16:creationId xmlns:a16="http://schemas.microsoft.com/office/drawing/2014/main" id="{029EA0D0-0A85-9726-CE56-34B144FED3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12728" y="4006413"/>
            <a:ext cx="3717615" cy="2215702"/>
          </a:xfrm>
          <a:prstGeom prst="rect">
            <a:avLst/>
          </a:prstGeom>
        </p:spPr>
      </p:pic>
      <p:sp>
        <p:nvSpPr>
          <p:cNvPr id="3" name="Titolo 1">
            <a:extLst>
              <a:ext uri="{FF2B5EF4-FFF2-40B4-BE49-F238E27FC236}">
                <a16:creationId xmlns:a16="http://schemas.microsoft.com/office/drawing/2014/main" id="{4CB0E94C-78C2-F051-8C1C-BB83AD1897AD}"/>
              </a:ext>
            </a:extLst>
          </p:cNvPr>
          <p:cNvSpPr txBox="1">
            <a:spLocks/>
          </p:cNvSpPr>
          <p:nvPr/>
        </p:nvSpPr>
        <p:spPr>
          <a:xfrm>
            <a:off x="10434452" y="6402563"/>
            <a:ext cx="1456469" cy="38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15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50376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47E8C1-6514-B78B-142C-D29A0121F3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BB3599C8-20E7-8E92-050D-BBD41117C235}"/>
              </a:ext>
            </a:extLst>
          </p:cNvPr>
          <p:cNvSpPr/>
          <p:nvPr/>
        </p:nvSpPr>
        <p:spPr>
          <a:xfrm>
            <a:off x="306000" y="384336"/>
            <a:ext cx="16337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takeholders</a:t>
            </a:r>
            <a:endParaRPr lang="en-GB" dirty="0"/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B56F62A3-9E88-979B-3F4D-067A839B56E3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18240" cy="324000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F1225D95-E049-48CF-9C8F-6BF6481091F7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312932"/>
            <a:ext cx="11618232" cy="25200"/>
          </a:xfrm>
          <a:prstGeom prst="rect">
            <a:avLst/>
          </a:prstGeom>
        </p:spPr>
      </p:pic>
      <p:sp>
        <p:nvSpPr>
          <p:cNvPr id="11" name="Rettangolo 10">
            <a:extLst>
              <a:ext uri="{FF2B5EF4-FFF2-40B4-BE49-F238E27FC236}">
                <a16:creationId xmlns:a16="http://schemas.microsoft.com/office/drawing/2014/main" id="{BA60D622-DAB3-A986-22B3-1AFDCBEB49B6}"/>
              </a:ext>
            </a:extLst>
          </p:cNvPr>
          <p:cNvSpPr/>
          <p:nvPr/>
        </p:nvSpPr>
        <p:spPr>
          <a:xfrm>
            <a:off x="318581" y="1112982"/>
            <a:ext cx="11618232" cy="1206665"/>
          </a:xfrm>
          <a:prstGeom prst="rect">
            <a:avLst/>
          </a:prstGeom>
          <a:ln w="6350">
            <a:noFill/>
          </a:ln>
        </p:spPr>
        <p:txBody>
          <a:bodyPr wrap="square">
            <a:noAutofit/>
          </a:bodyPr>
          <a:lstStyle/>
          <a:p>
            <a:pPr>
              <a:spcAft>
                <a:spcPts val="600"/>
              </a:spcAf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31 Università ed Enti Pubblici di Ricerca e 34 Imprese private nazionali</a:t>
            </a:r>
          </a:p>
          <a:p>
            <a:pPr>
              <a:spcAft>
                <a:spcPts val="600"/>
              </a:spcAf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Mappatura [Livello di interesse / Livello di impatto], relazione con progettualità PNRR aggregata </a:t>
            </a: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2ED27308-9BBF-D587-1900-6AD8DFB4E0EB}"/>
              </a:ext>
            </a:extLst>
          </p:cNvPr>
          <p:cNvSpPr txBox="1">
            <a:spLocks/>
          </p:cNvSpPr>
          <p:nvPr/>
        </p:nvSpPr>
        <p:spPr>
          <a:xfrm>
            <a:off x="10434452" y="6402563"/>
            <a:ext cx="1456469" cy="38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15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58E6B283-DC86-5527-4695-17F098970262}"/>
              </a:ext>
            </a:extLst>
          </p:cNvPr>
          <p:cNvSpPr/>
          <p:nvPr/>
        </p:nvSpPr>
        <p:spPr>
          <a:xfrm>
            <a:off x="306000" y="779418"/>
            <a:ext cx="5326862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spcAft>
                <a:spcPts val="600"/>
              </a:spcAft>
            </a:pPr>
            <a:r>
              <a:rPr lang="it-IT" sz="1600" dirty="0">
                <a:solidFill>
                  <a:srgbClr val="00B05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artner già coinvolti</a:t>
            </a:r>
          </a:p>
        </p:txBody>
      </p:sp>
      <p:pic>
        <p:nvPicPr>
          <p:cNvPr id="16" name="Immagine 15">
            <a:extLst>
              <a:ext uri="{FF2B5EF4-FFF2-40B4-BE49-F238E27FC236}">
                <a16:creationId xmlns:a16="http://schemas.microsoft.com/office/drawing/2014/main" id="{F5A3E878-30DF-A11D-E064-284880CE6B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5831" y="2116117"/>
            <a:ext cx="4391788" cy="3996000"/>
          </a:xfrm>
          <a:prstGeom prst="rect">
            <a:avLst/>
          </a:prstGeom>
        </p:spPr>
      </p:pic>
      <p:pic>
        <p:nvPicPr>
          <p:cNvPr id="19" name="Immagine 18">
            <a:extLst>
              <a:ext uri="{FF2B5EF4-FFF2-40B4-BE49-F238E27FC236}">
                <a16:creationId xmlns:a16="http://schemas.microsoft.com/office/drawing/2014/main" id="{CACCDB2E-B86C-A1B7-740A-19AFFEFAC9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36285" y="2116117"/>
            <a:ext cx="4393151" cy="39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9007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870D05-94CD-24F0-098A-2DBE008751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EAB3A313-A1E5-A0E3-C76C-17B314BB88F2}"/>
              </a:ext>
            </a:extLst>
          </p:cNvPr>
          <p:cNvSpPr/>
          <p:nvPr/>
        </p:nvSpPr>
        <p:spPr>
          <a:xfrm>
            <a:off x="306000" y="384336"/>
            <a:ext cx="16337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takeholders</a:t>
            </a:r>
            <a:endParaRPr lang="en-GB" dirty="0"/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5B20ABB9-7F2F-F5EA-CC2B-300EF0FAE983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18240" cy="324000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B8163BE1-8732-567A-55D0-381CB2B5800F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312932"/>
            <a:ext cx="11618232" cy="25200"/>
          </a:xfrm>
          <a:prstGeom prst="rect">
            <a:avLst/>
          </a:prstGeom>
        </p:spPr>
      </p:pic>
      <p:sp>
        <p:nvSpPr>
          <p:cNvPr id="11" name="Rettangolo 10">
            <a:extLst>
              <a:ext uri="{FF2B5EF4-FFF2-40B4-BE49-F238E27FC236}">
                <a16:creationId xmlns:a16="http://schemas.microsoft.com/office/drawing/2014/main" id="{88779D93-9DE0-9FE2-6B5F-226984771387}"/>
              </a:ext>
            </a:extLst>
          </p:cNvPr>
          <p:cNvSpPr/>
          <p:nvPr/>
        </p:nvSpPr>
        <p:spPr>
          <a:xfrm>
            <a:off x="318581" y="1112982"/>
            <a:ext cx="11618232" cy="1206665"/>
          </a:xfrm>
          <a:prstGeom prst="rect">
            <a:avLst/>
          </a:prstGeom>
          <a:ln w="6350">
            <a:noFill/>
          </a:ln>
        </p:spPr>
        <p:txBody>
          <a:bodyPr wrap="square">
            <a:noAutofit/>
          </a:bodyPr>
          <a:lstStyle/>
          <a:p>
            <a:pPr>
              <a:spcAft>
                <a:spcPts val="600"/>
              </a:spcAf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0 industrie, consorzi, associazioni private e PMI nazionali</a:t>
            </a:r>
          </a:p>
          <a:p>
            <a:pPr>
              <a:spcAft>
                <a:spcPts val="600"/>
              </a:spcAft>
            </a:pPr>
            <a:r>
              <a:rPr lang="it-IT" sz="160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Mappatura [Livello </a:t>
            </a: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di interesse / Livello </a:t>
            </a:r>
            <a:r>
              <a:rPr lang="it-IT" sz="160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di impatto], </a:t>
            </a: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relazione con progettualità PNRR aggregata </a:t>
            </a: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010ADA25-0F0F-4AE1-09FF-D53E6443621F}"/>
              </a:ext>
            </a:extLst>
          </p:cNvPr>
          <p:cNvSpPr txBox="1">
            <a:spLocks/>
          </p:cNvSpPr>
          <p:nvPr/>
        </p:nvSpPr>
        <p:spPr>
          <a:xfrm>
            <a:off x="10434452" y="6402563"/>
            <a:ext cx="1456469" cy="38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15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AA02E632-1704-69B7-C680-357E783E8ECA}"/>
              </a:ext>
            </a:extLst>
          </p:cNvPr>
          <p:cNvSpPr/>
          <p:nvPr/>
        </p:nvSpPr>
        <p:spPr>
          <a:xfrm>
            <a:off x="306000" y="779418"/>
            <a:ext cx="5326862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spcAft>
                <a:spcPts val="600"/>
              </a:spcAft>
            </a:pPr>
            <a:r>
              <a:rPr lang="it-IT" sz="1600" dirty="0">
                <a:solidFill>
                  <a:srgbClr val="00B05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artner coinvolgibili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14FF7F61-8F2D-2F0E-C8C1-D835E65299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35503" y="2116800"/>
            <a:ext cx="4438621" cy="39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8680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452AC3-C85C-931B-E820-ADE5317094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9F3F09F3-765E-8F9D-3C3A-173FC8914985}"/>
              </a:ext>
            </a:extLst>
          </p:cNvPr>
          <p:cNvSpPr/>
          <p:nvPr/>
        </p:nvSpPr>
        <p:spPr>
          <a:xfrm>
            <a:off x="288000" y="384336"/>
            <a:ext cx="39581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osizionamento dell'aggregazione</a:t>
            </a:r>
            <a:endParaRPr lang="en-GB" dirty="0"/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295EE13C-A4CD-BD7C-54F2-A64614EAA84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18240" cy="324000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8B8D582A-801F-6431-778D-E8B12B02A9E4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312932"/>
            <a:ext cx="11618232" cy="25200"/>
          </a:xfrm>
          <a:prstGeom prst="rect">
            <a:avLst/>
          </a:prstGeom>
        </p:spPr>
      </p:pic>
      <p:sp>
        <p:nvSpPr>
          <p:cNvPr id="3" name="Titolo 1">
            <a:extLst>
              <a:ext uri="{FF2B5EF4-FFF2-40B4-BE49-F238E27FC236}">
                <a16:creationId xmlns:a16="http://schemas.microsoft.com/office/drawing/2014/main" id="{81BE9A33-D20F-278C-3196-AA3AEBC89E41}"/>
              </a:ext>
            </a:extLst>
          </p:cNvPr>
          <p:cNvSpPr txBox="1">
            <a:spLocks/>
          </p:cNvSpPr>
          <p:nvPr/>
        </p:nvSpPr>
        <p:spPr>
          <a:xfrm>
            <a:off x="10434452" y="6402563"/>
            <a:ext cx="1456469" cy="38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15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43268C14-99B3-741C-4EA0-97FDA737F8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03539" y="1314298"/>
            <a:ext cx="6635725" cy="5189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4865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7019DF-02A1-9DFF-706D-3F91E42585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DC113336-D7C7-5D82-3E43-7130A75FC3D8}"/>
              </a:ext>
            </a:extLst>
          </p:cNvPr>
          <p:cNvSpPr/>
          <p:nvPr/>
        </p:nvSpPr>
        <p:spPr>
          <a:xfrm>
            <a:off x="288000" y="384336"/>
            <a:ext cx="19030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Market </a:t>
            </a:r>
            <a:r>
              <a:rPr lang="it-IT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nalysis</a:t>
            </a:r>
            <a:endParaRPr lang="en-GB" dirty="0"/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2606A5C9-7F06-BC2A-273D-450B10D8C85E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18240" cy="324000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80BD293D-47B5-3123-A01B-05E111861C11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312932"/>
            <a:ext cx="11618232" cy="25200"/>
          </a:xfrm>
          <a:prstGeom prst="rect">
            <a:avLst/>
          </a:prstGeom>
        </p:spPr>
      </p:pic>
      <p:sp>
        <p:nvSpPr>
          <p:cNvPr id="11" name="Rettangolo 10">
            <a:extLst>
              <a:ext uri="{FF2B5EF4-FFF2-40B4-BE49-F238E27FC236}">
                <a16:creationId xmlns:a16="http://schemas.microsoft.com/office/drawing/2014/main" id="{71C24507-99C9-5F42-8B19-DA16ECBA7E8B}"/>
              </a:ext>
            </a:extLst>
          </p:cNvPr>
          <p:cNvSpPr/>
          <p:nvPr/>
        </p:nvSpPr>
        <p:spPr>
          <a:xfrm>
            <a:off x="306000" y="863024"/>
            <a:ext cx="2574804" cy="140671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just">
              <a:lnSpc>
                <a:spcPts val="2500"/>
              </a:lnSpc>
            </a:pPr>
            <a:r>
              <a:rPr lang="it-IT" sz="1600" dirty="0">
                <a:solidFill>
                  <a:srgbClr val="00B05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bbigliamento / Moda</a:t>
            </a:r>
          </a:p>
          <a:p>
            <a:pPr algn="just">
              <a:lnSpc>
                <a:spcPts val="2500"/>
              </a:lnSpc>
            </a:pPr>
            <a:r>
              <a:rPr lang="it-IT" sz="1600" dirty="0">
                <a:solidFill>
                  <a:srgbClr val="00B05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rredo </a:t>
            </a:r>
          </a:p>
          <a:p>
            <a:pPr algn="just">
              <a:lnSpc>
                <a:spcPts val="2500"/>
              </a:lnSpc>
            </a:pPr>
            <a:r>
              <a:rPr lang="it-IT" sz="1600" dirty="0">
                <a:solidFill>
                  <a:srgbClr val="00B05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lte tecnologie</a:t>
            </a:r>
          </a:p>
          <a:p>
            <a:pPr algn="just">
              <a:lnSpc>
                <a:spcPts val="2500"/>
              </a:lnSpc>
            </a:pPr>
            <a:r>
              <a:rPr lang="it-IT" sz="1600" dirty="0">
                <a:solidFill>
                  <a:srgbClr val="00B05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Energia</a:t>
            </a:r>
          </a:p>
        </p:txBody>
      </p:sp>
      <p:graphicFrame>
        <p:nvGraphicFramePr>
          <p:cNvPr id="7" name="Grafico 18">
            <a:extLst>
              <a:ext uri="{FF2B5EF4-FFF2-40B4-BE49-F238E27FC236}">
                <a16:creationId xmlns:a16="http://schemas.microsoft.com/office/drawing/2014/main" id="{403A8BE1-7D72-DF81-BC84-4F91EAEED7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7573855"/>
              </p:ext>
            </p:extLst>
          </p:nvPr>
        </p:nvGraphicFramePr>
        <p:xfrm>
          <a:off x="1051581" y="2665296"/>
          <a:ext cx="4811987" cy="2707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" name="Grafico 18">
            <a:extLst>
              <a:ext uri="{FF2B5EF4-FFF2-40B4-BE49-F238E27FC236}">
                <a16:creationId xmlns:a16="http://schemas.microsoft.com/office/drawing/2014/main" id="{99ABEA09-BC55-3504-C52A-07007761E9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3575571"/>
              </p:ext>
            </p:extLst>
          </p:nvPr>
        </p:nvGraphicFramePr>
        <p:xfrm>
          <a:off x="6284596" y="2833963"/>
          <a:ext cx="4824729" cy="273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Rettangolo 1">
            <a:extLst>
              <a:ext uri="{FF2B5EF4-FFF2-40B4-BE49-F238E27FC236}">
                <a16:creationId xmlns:a16="http://schemas.microsoft.com/office/drawing/2014/main" id="{4666A52F-C05E-D98D-B897-7B721F6E693E}"/>
              </a:ext>
            </a:extLst>
          </p:cNvPr>
          <p:cNvSpPr/>
          <p:nvPr/>
        </p:nvSpPr>
        <p:spPr>
          <a:xfrm>
            <a:off x="10097204" y="5935670"/>
            <a:ext cx="151034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sz="800" i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Fonte: ISTAT dicembre 2021</a:t>
            </a:r>
            <a:endParaRPr lang="en-GB" sz="800" i="1" dirty="0"/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C7D1B7FD-35A6-9858-4606-B5A0C5DD2512}"/>
              </a:ext>
            </a:extLst>
          </p:cNvPr>
          <p:cNvSpPr txBox="1">
            <a:spLocks/>
          </p:cNvSpPr>
          <p:nvPr/>
        </p:nvSpPr>
        <p:spPr>
          <a:xfrm>
            <a:off x="10434452" y="6402563"/>
            <a:ext cx="1456469" cy="38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15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FE3B3764-8B72-05AF-2214-BFA89C0D85AD}"/>
              </a:ext>
            </a:extLst>
          </p:cNvPr>
          <p:cNvSpPr/>
          <p:nvPr/>
        </p:nvSpPr>
        <p:spPr>
          <a:xfrm>
            <a:off x="2888360" y="863024"/>
            <a:ext cx="8719193" cy="153183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just">
              <a:lnSpc>
                <a:spcPts val="2500"/>
              </a:lnSpc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essile, Calzaturiero (Moda), Tessuti, Imbottiti (Arredo), Ceramico (Arredo, High-Tech), Nautico (High-Tech), Legno (Arredo), </a:t>
            </a:r>
            <a:r>
              <a:rPr lang="it-IT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Bio</a:t>
            </a: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-economia (Moda, Arredo, High-Tech), Metalli preziosi (Moda, High-Tech), Materiali critici (High-Tech), Prodotti chimici, Intermedi sintetici (High-Tech), Energia ed elettronica (High-Tech)</a:t>
            </a:r>
          </a:p>
        </p:txBody>
      </p:sp>
    </p:spTree>
    <p:extLst>
      <p:ext uri="{BB962C8B-B14F-4D97-AF65-F5344CB8AC3E}">
        <p14:creationId xmlns:p14="http://schemas.microsoft.com/office/powerpoint/2010/main" val="36130540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246817-4D01-3FC9-4881-42554959DF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5">
            <a:extLst>
              <a:ext uri="{FF2B5EF4-FFF2-40B4-BE49-F238E27FC236}">
                <a16:creationId xmlns:a16="http://schemas.microsoft.com/office/drawing/2014/main" id="{6041D249-5DB6-78A2-EF9B-365D4A4992CC}"/>
              </a:ext>
            </a:extLst>
          </p:cNvPr>
          <p:cNvSpPr/>
          <p:nvPr/>
        </p:nvSpPr>
        <p:spPr>
          <a:xfrm>
            <a:off x="4924846" y="6442017"/>
            <a:ext cx="234230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stenibilità PNRR@CNR</a:t>
            </a:r>
            <a:endParaRPr lang="en-GB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olo 1">
            <a:extLst>
              <a:ext uri="{FF2B5EF4-FFF2-40B4-BE49-F238E27FC236}">
                <a16:creationId xmlns:a16="http://schemas.microsoft.com/office/drawing/2014/main" id="{1B2893F1-1256-6B27-342C-9EEDF216E5D0}"/>
              </a:ext>
            </a:extLst>
          </p:cNvPr>
          <p:cNvSpPr txBox="1">
            <a:spLocks/>
          </p:cNvSpPr>
          <p:nvPr/>
        </p:nvSpPr>
        <p:spPr>
          <a:xfrm>
            <a:off x="838200" y="2736717"/>
            <a:ext cx="10515600" cy="8314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42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zie</a:t>
            </a:r>
            <a:endParaRPr lang="en-GB" sz="42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9EFC2ACE-FB42-E28B-3F83-CF5808BB6FE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18240" cy="324000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DA4540EF-214B-3346-1FD4-EBCCAB22C5F3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>
            <a:off x="305301" y="187066"/>
            <a:ext cx="11618232" cy="25200"/>
          </a:xfrm>
          <a:prstGeom prst="rect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CF95183F-80BA-DDC0-75A0-B7A0D967DFEB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312932"/>
            <a:ext cx="11618232" cy="25200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F6D1FC07-E1EF-7B72-B96F-BF59BA44145B}"/>
              </a:ext>
            </a:extLst>
          </p:cNvPr>
          <p:cNvSpPr txBox="1">
            <a:spLocks/>
          </p:cNvSpPr>
          <p:nvPr/>
        </p:nvSpPr>
        <p:spPr>
          <a:xfrm>
            <a:off x="10434452" y="6402563"/>
            <a:ext cx="1456469" cy="38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15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73080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C2CB72-8477-37D6-01A4-2A6AED3EBA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18985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05FB4A-D678-C8E6-A30E-57004D6310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A8CAF083-6C58-EA93-46CB-4A787E2B8D6C}"/>
              </a:ext>
            </a:extLst>
          </p:cNvPr>
          <p:cNvSpPr/>
          <p:nvPr/>
        </p:nvSpPr>
        <p:spPr>
          <a:xfrm>
            <a:off x="306000" y="384336"/>
            <a:ext cx="16337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takeholders</a:t>
            </a:r>
            <a:endParaRPr lang="en-GB" dirty="0"/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041949DE-B1F6-90CA-2A01-BBE964F9429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18240" cy="324000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24643BE9-54F4-1439-E242-93F3B3F5F796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312932"/>
            <a:ext cx="11618232" cy="25200"/>
          </a:xfrm>
          <a:prstGeom prst="rect">
            <a:avLst/>
          </a:prstGeom>
        </p:spPr>
      </p:pic>
      <p:sp>
        <p:nvSpPr>
          <p:cNvPr id="11" name="Rettangolo 10">
            <a:extLst>
              <a:ext uri="{FF2B5EF4-FFF2-40B4-BE49-F238E27FC236}">
                <a16:creationId xmlns:a16="http://schemas.microsoft.com/office/drawing/2014/main" id="{B9363D5B-4743-AFCA-4481-5936239FFE65}"/>
              </a:ext>
            </a:extLst>
          </p:cNvPr>
          <p:cNvSpPr/>
          <p:nvPr/>
        </p:nvSpPr>
        <p:spPr>
          <a:xfrm>
            <a:off x="318582" y="1112982"/>
            <a:ext cx="5326862" cy="4753944"/>
          </a:xfrm>
          <a:prstGeom prst="rect">
            <a:avLst/>
          </a:prstGeom>
          <a:ln w="6350">
            <a:noFill/>
          </a:ln>
        </p:spPr>
        <p:txBody>
          <a:bodyPr wrap="square">
            <a:noAutofit/>
          </a:bodyPr>
          <a:lstStyle/>
          <a:p>
            <a:pPr>
              <a:spcAft>
                <a:spcPts val="600"/>
              </a:spcAf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iversità / Istituzioni di Ricerc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apienza Università di Rom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iversità degli studi di Bergamo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lma Mater </a:t>
            </a: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tudiorum</a:t>
            </a: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Università di Bologn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iversità degli studi di Firenze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iversità degli studi di Napoli Federico II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iversità degli studi di Palermo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iversità degli studi di Padov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olitecnico di Milano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olitecnico di Torino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olitecnico di Bari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iversità degli Studi di Bresci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iversità degli studi di Cagliari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entro di Ricerche Europeo di Tecnologie Design e Materiali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iversità degli Studi di Perugi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iversità degli studi di Salerno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iversità della Calabri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iversità degli Studi di Milano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Istituto Nazionale di Geofisica e Vulcanologi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iversità di Modena e Reggio Emili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iversità di Parm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iversità degli Studi di Ferrar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iversità Cattolica del Sacro Cuore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ENE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iversità degli Studi Roma Tre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Istituto Nazionale di Ricerca Metrologic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iversità di Pis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iversità Politecnica delle Marche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iversità degli Studi della Basilicat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iversità degli Studi Mediterranea di Reggio Calabri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genzia Regionale per la Protezione dell’Ambiente della Calabri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ISPRA</a:t>
            </a: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AD259948-2657-88E7-2D48-B7BECE8BD1F6}"/>
              </a:ext>
            </a:extLst>
          </p:cNvPr>
          <p:cNvSpPr txBox="1">
            <a:spLocks/>
          </p:cNvSpPr>
          <p:nvPr/>
        </p:nvSpPr>
        <p:spPr>
          <a:xfrm>
            <a:off x="10434452" y="6402563"/>
            <a:ext cx="1456469" cy="38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15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A1FE6208-04BE-D39C-8E92-905206888B8A}"/>
              </a:ext>
            </a:extLst>
          </p:cNvPr>
          <p:cNvSpPr/>
          <p:nvPr/>
        </p:nvSpPr>
        <p:spPr>
          <a:xfrm>
            <a:off x="6238018" y="1112981"/>
            <a:ext cx="5326862" cy="517190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spcAft>
                <a:spcPts val="600"/>
              </a:spcAf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Industrie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onsorzio Radici per la ricerca e l’innovazione s.c.a.r.l.</a:t>
            </a:r>
          </a:p>
          <a:p>
            <a:pPr marL="108000">
              <a:lnSpc>
                <a:spcPts val="1100"/>
              </a:lnSpc>
            </a:pP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échnéos</a:t>
            </a: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s.r.l.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FRAMIS ITALIA SP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GPS TECH SRL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EFFE </a:t>
            </a: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.p.A</a:t>
            </a:r>
            <a:endParaRPr lang="it-IT" sz="105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BREMBO </a:t>
            </a: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.p.A</a:t>
            </a:r>
            <a:endParaRPr lang="it-IT" sz="105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avanna S.p.A.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Natuzzi S.p.A.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Leonardo </a:t>
            </a: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.p.a</a:t>
            </a:r>
            <a:endParaRPr lang="it-IT" sz="105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CM GROUP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ACMI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AMOZZI GROUP S.p.A.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ITEMA S.p.A.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tazione Sperimentale per l'Industria delle Pelli e delle Materie Concianti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GRADED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LPE Company</a:t>
            </a:r>
          </a:p>
          <a:p>
            <a:pPr marL="108000">
              <a:lnSpc>
                <a:spcPts val="1100"/>
              </a:lnSpc>
            </a:pP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TLab</a:t>
            </a: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s.r.l.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entro Ceramico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ERTIMAC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DEMOCENTER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MUSP</a:t>
            </a:r>
          </a:p>
          <a:p>
            <a:pPr marL="108000">
              <a:lnSpc>
                <a:spcPts val="1100"/>
              </a:lnSpc>
            </a:pP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Romagnatech</a:t>
            </a:r>
            <a:endParaRPr lang="it-IT" sz="105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108000">
              <a:lnSpc>
                <a:spcPts val="1100"/>
              </a:lnSpc>
            </a:pP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lmacube</a:t>
            </a:r>
            <a:endParaRPr lang="it-IT" sz="105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BI-REX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Fondazione REI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3LAB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ROAMBIENTE</a:t>
            </a:r>
          </a:p>
          <a:p>
            <a:pPr marL="108000">
              <a:lnSpc>
                <a:spcPts val="1100"/>
              </a:lnSpc>
            </a:pP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tellantis</a:t>
            </a:r>
            <a:endParaRPr lang="it-IT" sz="105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ENI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Ferrari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irelli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EIT Manufacturing SRL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RINA Consulting - CSM </a:t>
            </a: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pA</a:t>
            </a:r>
            <a:endParaRPr lang="it-IT" sz="105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108000">
              <a:lnSpc>
                <a:spcPts val="1100"/>
              </a:lnSpc>
            </a:pP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echfem</a:t>
            </a: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pA</a:t>
            </a:r>
            <a:endParaRPr lang="it-IT" sz="105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0F6293CA-9603-23AD-8A51-3A2791AEF765}"/>
              </a:ext>
            </a:extLst>
          </p:cNvPr>
          <p:cNvSpPr/>
          <p:nvPr/>
        </p:nvSpPr>
        <p:spPr>
          <a:xfrm>
            <a:off x="306000" y="779418"/>
            <a:ext cx="5326862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spcAft>
                <a:spcPts val="600"/>
              </a:spcAft>
            </a:pPr>
            <a:r>
              <a:rPr lang="it-IT" sz="1600" dirty="0">
                <a:solidFill>
                  <a:srgbClr val="00B05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ollaborazioni pubblico / private in essere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EFE6F267-5875-4505-44E0-0361834E7C85}"/>
              </a:ext>
            </a:extLst>
          </p:cNvPr>
          <p:cNvSpPr/>
          <p:nvPr/>
        </p:nvSpPr>
        <p:spPr>
          <a:xfrm>
            <a:off x="415254" y="1415291"/>
            <a:ext cx="4758703" cy="4418046"/>
          </a:xfrm>
          <a:prstGeom prst="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FA148BDD-4619-6249-A40C-EC79E5FE8A61}"/>
              </a:ext>
            </a:extLst>
          </p:cNvPr>
          <p:cNvSpPr/>
          <p:nvPr/>
        </p:nvSpPr>
        <p:spPr>
          <a:xfrm>
            <a:off x="6334992" y="1415291"/>
            <a:ext cx="4810350" cy="4836003"/>
          </a:xfrm>
          <a:prstGeom prst="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127439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5F9B49-DCAB-694C-F0C3-2688C5086C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09ADB90D-5E27-518D-4382-FD393A94AB1E}"/>
              </a:ext>
            </a:extLst>
          </p:cNvPr>
          <p:cNvSpPr/>
          <p:nvPr/>
        </p:nvSpPr>
        <p:spPr>
          <a:xfrm>
            <a:off x="306000" y="384336"/>
            <a:ext cx="16337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takeholders</a:t>
            </a:r>
            <a:endParaRPr lang="en-GB" dirty="0"/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27943055-5F50-D84D-683E-C10875979C2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18240" cy="324000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6F2975F9-6D05-FB5C-FDBD-27F43E619A5A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312932"/>
            <a:ext cx="11618232" cy="25200"/>
          </a:xfrm>
          <a:prstGeom prst="rect">
            <a:avLst/>
          </a:prstGeom>
        </p:spPr>
      </p:pic>
      <p:sp>
        <p:nvSpPr>
          <p:cNvPr id="3" name="Titolo 1">
            <a:extLst>
              <a:ext uri="{FF2B5EF4-FFF2-40B4-BE49-F238E27FC236}">
                <a16:creationId xmlns:a16="http://schemas.microsoft.com/office/drawing/2014/main" id="{E048EA0B-A026-4FE3-4E10-171E854C6134}"/>
              </a:ext>
            </a:extLst>
          </p:cNvPr>
          <p:cNvSpPr txBox="1">
            <a:spLocks/>
          </p:cNvSpPr>
          <p:nvPr/>
        </p:nvSpPr>
        <p:spPr>
          <a:xfrm>
            <a:off x="10434452" y="6402563"/>
            <a:ext cx="1456469" cy="38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15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883B5B8B-595A-0BAC-8B96-19E8A8B58A1D}"/>
              </a:ext>
            </a:extLst>
          </p:cNvPr>
          <p:cNvSpPr/>
          <p:nvPr/>
        </p:nvSpPr>
        <p:spPr>
          <a:xfrm>
            <a:off x="4110196" y="1174500"/>
            <a:ext cx="5326862" cy="517190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spcAft>
                <a:spcPts val="600"/>
              </a:spcAft>
            </a:pPr>
            <a:endParaRPr lang="it-IT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Novamont</a:t>
            </a:r>
          </a:p>
          <a:p>
            <a:pPr marL="108000">
              <a:lnSpc>
                <a:spcPts val="1100"/>
              </a:lnSpc>
            </a:pP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Nextchem</a:t>
            </a:r>
            <a:endParaRPr lang="it-IT" sz="105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olvay </a:t>
            </a: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pecialty</a:t>
            </a: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olymers</a:t>
            </a:r>
            <a:endParaRPr lang="it-IT" sz="105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108000">
              <a:lnSpc>
                <a:spcPts val="1100"/>
              </a:lnSpc>
            </a:pP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quafil</a:t>
            </a: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rl</a:t>
            </a:r>
            <a:endParaRPr lang="it-IT" sz="105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BASF Itali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lcantar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annon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Versalis Spa</a:t>
            </a:r>
          </a:p>
          <a:p>
            <a:pPr marL="108000">
              <a:lnSpc>
                <a:spcPts val="1100"/>
              </a:lnSpc>
            </a:pP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himet</a:t>
            </a:r>
            <a:endParaRPr lang="it-IT" sz="105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108000">
              <a:lnSpc>
                <a:spcPts val="1100"/>
              </a:lnSpc>
            </a:pP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Unoaerre</a:t>
            </a:r>
            <a:endParaRPr lang="it-IT" sz="105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Marazzi ceramiche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anaria ceramiche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GIGACER </a:t>
            </a: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pA</a:t>
            </a:r>
            <a:endParaRPr lang="it-IT" sz="105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Next Technology </a:t>
            </a: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ecnotessile</a:t>
            </a:r>
            <a:endParaRPr lang="it-IT" sz="105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OREPL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OBAT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lastic Europe Itali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onfindustria Ricerca e Innovazione</a:t>
            </a:r>
          </a:p>
          <a:p>
            <a:pPr marL="108000">
              <a:lnSpc>
                <a:spcPts val="1100"/>
              </a:lnSpc>
            </a:pP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Federlegnoarredo</a:t>
            </a:r>
            <a:endParaRPr lang="it-IT" sz="105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Federchimic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WES Trade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EUREKA SRG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Marcegaglia</a:t>
            </a:r>
          </a:p>
          <a:p>
            <a:pPr marL="108000">
              <a:lnSpc>
                <a:spcPts val="1100"/>
              </a:lnSpc>
            </a:pP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MBN </a:t>
            </a: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Nanomaterialias</a:t>
            </a:r>
            <a:endParaRPr lang="it-IT" sz="105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108000">
              <a:lnSpc>
                <a:spcPts val="1100"/>
              </a:lnSpc>
            </a:pP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orption</a:t>
            </a: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Technologies </a:t>
            </a:r>
            <a:r>
              <a:rPr lang="it-IT" sz="105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rl</a:t>
            </a:r>
            <a:r>
              <a:rPr lang="it-IT" sz="105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</a:p>
          <a:p>
            <a:pPr marL="108000">
              <a:lnSpc>
                <a:spcPts val="1100"/>
              </a:lnSpc>
            </a:pPr>
            <a:endParaRPr lang="it-IT" sz="105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108000">
              <a:lnSpc>
                <a:spcPts val="1100"/>
              </a:lnSpc>
            </a:pPr>
            <a:endParaRPr lang="it-IT" sz="105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108000">
              <a:lnSpc>
                <a:spcPts val="1100"/>
              </a:lnSpc>
            </a:pPr>
            <a:endParaRPr lang="it-IT" sz="105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0F07A673-8CE5-D486-C542-AF44E31F1A2C}"/>
              </a:ext>
            </a:extLst>
          </p:cNvPr>
          <p:cNvSpPr/>
          <p:nvPr/>
        </p:nvSpPr>
        <p:spPr>
          <a:xfrm>
            <a:off x="306000" y="779418"/>
            <a:ext cx="5326862" cy="36933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spcAft>
                <a:spcPts val="600"/>
              </a:spcAft>
            </a:pPr>
            <a:r>
              <a:rPr lang="it-IT" sz="1600" dirty="0">
                <a:solidFill>
                  <a:srgbClr val="00B05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ollaborazioni private potenziali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05E590A4-63D7-18C8-13F7-8686D699BCB7}"/>
              </a:ext>
            </a:extLst>
          </p:cNvPr>
          <p:cNvSpPr/>
          <p:nvPr/>
        </p:nvSpPr>
        <p:spPr>
          <a:xfrm>
            <a:off x="4207170" y="1476811"/>
            <a:ext cx="4810350" cy="3811846"/>
          </a:xfrm>
          <a:prstGeom prst="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334109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74700" y="1532460"/>
            <a:ext cx="10718800" cy="1627307"/>
          </a:xfrm>
        </p:spPr>
        <p:txBody>
          <a:bodyPr>
            <a:noAutofit/>
          </a:bodyPr>
          <a:lstStyle/>
          <a:p>
            <a:pPr algn="ctr">
              <a:lnSpc>
                <a:spcPts val="3800"/>
              </a:lnSpc>
            </a:pPr>
            <a:r>
              <a:rPr lang="it-IT" sz="2700" spc="-3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ie per la sostenibilità e circolarità del sistema industriale italiano: processi verdi e materiali innovativi da fonti residuali e non-critiche</a:t>
            </a:r>
            <a:endParaRPr lang="en-GB" sz="2700" b="1" spc="-3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ttangolo 5"/>
          <p:cNvSpPr/>
          <p:nvPr/>
        </p:nvSpPr>
        <p:spPr>
          <a:xfrm>
            <a:off x="4924846" y="6439865"/>
            <a:ext cx="234230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stenibilità PNRR@CNR</a:t>
            </a:r>
            <a:endParaRPr lang="en-GB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olo 1"/>
          <p:cNvSpPr txBox="1">
            <a:spLocks/>
          </p:cNvSpPr>
          <p:nvPr/>
        </p:nvSpPr>
        <p:spPr>
          <a:xfrm>
            <a:off x="838199" y="3366117"/>
            <a:ext cx="10515600" cy="8314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42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42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ttangolo 8"/>
          <p:cNvSpPr/>
          <p:nvPr/>
        </p:nvSpPr>
        <p:spPr>
          <a:xfrm>
            <a:off x="5150868" y="4565002"/>
            <a:ext cx="1890261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ierluigi Barbaro</a:t>
            </a:r>
          </a:p>
          <a:p>
            <a:pPr algn="ctr">
              <a:spcAft>
                <a:spcPts val="600"/>
              </a:spcAft>
            </a:pPr>
            <a:r>
              <a:rPr lang="it-IT" dirty="0">
                <a:solidFill>
                  <a:srgbClr val="002060"/>
                </a:solidFill>
                <a:latin typeface="Arial" panose="020B0604020202020204" pitchFamily="34" charset="0"/>
              </a:rPr>
              <a:t>ICCOM</a:t>
            </a:r>
          </a:p>
          <a:p>
            <a:pPr algn="ctr"/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</a:rPr>
              <a:t>DSCTM</a:t>
            </a:r>
            <a:endParaRPr lang="en-GB" b="1" dirty="0"/>
          </a:p>
        </p:txBody>
      </p:sp>
      <p:sp>
        <p:nvSpPr>
          <p:cNvPr id="10" name="Rettangolo 9"/>
          <p:cNvSpPr/>
          <p:nvPr/>
        </p:nvSpPr>
        <p:spPr>
          <a:xfrm>
            <a:off x="4757332" y="799934"/>
            <a:ext cx="2677335" cy="3539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sz="1700" i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roposta di aggregazione</a:t>
            </a:r>
            <a:endParaRPr lang="en-GB" sz="1700" i="1" dirty="0"/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18240" cy="324000"/>
          </a:xfrm>
          <a:prstGeom prst="rect">
            <a:avLst/>
          </a:prstGeom>
        </p:spPr>
      </p:pic>
      <p:pic>
        <p:nvPicPr>
          <p:cNvPr id="12" name="Immagine 11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>
            <a:off x="305301" y="187066"/>
            <a:ext cx="11618232" cy="25200"/>
          </a:xfrm>
          <a:prstGeom prst="rect">
            <a:avLst/>
          </a:prstGeom>
        </p:spPr>
      </p:pic>
      <p:pic>
        <p:nvPicPr>
          <p:cNvPr id="13" name="Immagine 12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312932"/>
            <a:ext cx="11618232" cy="25200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6314417D-4912-962D-ADE8-EB7365B8C73A}"/>
              </a:ext>
            </a:extLst>
          </p:cNvPr>
          <p:cNvSpPr txBox="1"/>
          <p:nvPr/>
        </p:nvSpPr>
        <p:spPr>
          <a:xfrm>
            <a:off x="9721933" y="6439865"/>
            <a:ext cx="201112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Bologna, 3 aprile 2025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6099465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/>
          <p:cNvSpPr txBox="1">
            <a:spLocks/>
          </p:cNvSpPr>
          <p:nvPr/>
        </p:nvSpPr>
        <p:spPr>
          <a:xfrm>
            <a:off x="10434452" y="6402563"/>
            <a:ext cx="1456469" cy="38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15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305301" y="377986"/>
            <a:ext cx="11813811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it-IT" sz="1600" b="1" spc="-3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mbito tematico: </a:t>
            </a: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 e realizzazione di processi, prodotti, materiali e tecnologie innovative per il manifatturiero italiano avanzato finalizzato alla Transizione Ecologica</a:t>
            </a:r>
          </a:p>
          <a:p>
            <a:pPr>
              <a:spcAft>
                <a:spcPts val="600"/>
              </a:spcAft>
            </a:pPr>
            <a:endParaRPr lang="en-GB" sz="1600" spc="-30" dirty="0"/>
          </a:p>
        </p:txBody>
      </p:sp>
      <p:pic>
        <p:nvPicPr>
          <p:cNvPr id="17" name="Immagine 1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18240" cy="324000"/>
          </a:xfrm>
          <a:prstGeom prst="rect">
            <a:avLst/>
          </a:prstGeom>
        </p:spPr>
      </p:pic>
      <p:pic>
        <p:nvPicPr>
          <p:cNvPr id="18" name="Immagine 17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312932"/>
            <a:ext cx="11618232" cy="25200"/>
          </a:xfrm>
          <a:prstGeom prst="rect">
            <a:avLst/>
          </a:prstGeom>
        </p:spPr>
      </p:pic>
      <p:sp>
        <p:nvSpPr>
          <p:cNvPr id="4" name="Rettangolo 3"/>
          <p:cNvSpPr/>
          <p:nvPr/>
        </p:nvSpPr>
        <p:spPr>
          <a:xfrm>
            <a:off x="305301" y="2290103"/>
            <a:ext cx="11617200" cy="367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1000"/>
              </a:spcAft>
              <a:tabLst>
                <a:tab pos="447675" algn="l"/>
              </a:tabLst>
            </a:pPr>
            <a:r>
              <a:rPr lang="it-IT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iettivi dell' aggregazione</a:t>
            </a:r>
          </a:p>
          <a:p>
            <a:pPr algn="just">
              <a:tabLst>
                <a:tab pos="447675" algn="l"/>
              </a:tabLst>
            </a:pPr>
            <a:r>
              <a:rPr lang="it-IT" sz="16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 Sviluppo </a:t>
            </a:r>
            <a:r>
              <a:rPr lang="it-IT" sz="1600" dirty="0">
                <a:solidFill>
                  <a:srgbClr val="0096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 prodotti da rifiuti </a:t>
            </a:r>
            <a:r>
              <a:rPr lang="it-IT" sz="16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-consumo e materie prime seconde </a:t>
            </a:r>
          </a:p>
          <a:p>
            <a:pPr algn="just">
              <a:tabLst>
                <a:tab pos="447675" algn="l"/>
              </a:tabLs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1 	Depolimerizzazione e </a:t>
            </a:r>
            <a:r>
              <a:rPr lang="it-IT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cycling</a:t>
            </a: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 plastiche e riciclo chimico di tessuti sintetici</a:t>
            </a:r>
          </a:p>
          <a:p>
            <a:pPr algn="just">
              <a:tabLst>
                <a:tab pos="447675" algn="l"/>
              </a:tabLs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2 	Urban </a:t>
            </a:r>
            <a:r>
              <a:rPr lang="it-IT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ng</a:t>
            </a: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riciclo di metalli critici da RAEE, magneti e batterie </a:t>
            </a:r>
          </a:p>
          <a:p>
            <a:pPr algn="just">
              <a:spcAft>
                <a:spcPts val="1000"/>
              </a:spcAft>
              <a:tabLst>
                <a:tab pos="447675" algn="l"/>
              </a:tabLs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3 	Riciclo di materiali da costruzione</a:t>
            </a:r>
          </a:p>
          <a:p>
            <a:pPr algn="just">
              <a:tabLst>
                <a:tab pos="447675" algn="l"/>
              </a:tabLst>
            </a:pPr>
            <a:r>
              <a:rPr lang="it-IT" sz="16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 Sviluppo di materiali da risorse non-critiche, rinnovabili e residuali</a:t>
            </a:r>
          </a:p>
          <a:p>
            <a:pPr algn="just">
              <a:tabLst>
                <a:tab pos="447675" algn="l"/>
              </a:tabLs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1 	Upgrade di minerali abbondanti e secondari</a:t>
            </a:r>
          </a:p>
          <a:p>
            <a:pPr algn="just">
              <a:tabLst>
                <a:tab pos="447675" algn="l"/>
              </a:tabLs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2 	Valorizzazione della biomassa vegetale non-edibile: scarti agricoli, della selvicoltura e dell’industria mobiliera</a:t>
            </a:r>
          </a:p>
          <a:p>
            <a:pPr algn="just">
              <a:spcAft>
                <a:spcPts val="1000"/>
              </a:spcAft>
              <a:tabLst>
                <a:tab pos="447675" algn="l"/>
              </a:tabLs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3 	Sfruttamento di residui dell’industria metallurgica, elettronica e oreficeria</a:t>
            </a:r>
          </a:p>
          <a:p>
            <a:pPr algn="just">
              <a:tabLst>
                <a:tab pos="447675" algn="l"/>
              </a:tabLst>
            </a:pPr>
            <a:r>
              <a:rPr lang="it-IT" sz="16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. Sviluppo di processi sostenibili e materiali intelligenti</a:t>
            </a:r>
          </a:p>
          <a:p>
            <a:pPr algn="just">
              <a:tabLst>
                <a:tab pos="447675" algn="l"/>
              </a:tabLs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.1 	Funzionalizzazione di prodotti di consumo per il conferimento di proprietà antibatteriche, ignifughe, </a:t>
            </a:r>
            <a:r>
              <a:rPr lang="it-IT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oristiche</a:t>
            </a: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tc.</a:t>
            </a:r>
          </a:p>
          <a:p>
            <a:pPr algn="just">
              <a:tabLst>
                <a:tab pos="447675" algn="l"/>
              </a:tabLs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.2 	Materiali innovativi </a:t>
            </a:r>
            <a:r>
              <a:rPr lang="it-IT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fe</a:t>
            </a: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by-design, </a:t>
            </a:r>
            <a:r>
              <a:rPr lang="it-IT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rcular</a:t>
            </a: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by-design, biodegradabili</a:t>
            </a:r>
          </a:p>
          <a:p>
            <a:pPr algn="just">
              <a:tabLst>
                <a:tab pos="447675" algn="l"/>
              </a:tabLst>
            </a:pPr>
            <a:r>
              <a:rPr lang="it-IT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.3 	Processi verdi a basso impatto ambientale ed economico, incluso uso di materie prime rinnovabili e </a:t>
            </a:r>
            <a:r>
              <a:rPr lang="it-IT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opolimerizzazione</a:t>
            </a:r>
            <a:endParaRPr lang="it-IT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97AC8724-0780-DEF1-8DC9-17CB3738DBD3}"/>
              </a:ext>
            </a:extLst>
          </p:cNvPr>
          <p:cNvSpPr/>
          <p:nvPr/>
        </p:nvSpPr>
        <p:spPr>
          <a:xfrm>
            <a:off x="305301" y="1160112"/>
            <a:ext cx="118138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it-IT" sz="1600" b="1" spc="-3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arole chiave: </a:t>
            </a:r>
            <a:r>
              <a:rPr lang="it-IT" sz="1600" spc="-3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Sostenibilità, Economia Circolare, Critical </a:t>
            </a:r>
            <a:r>
              <a:rPr lang="it-IT" sz="1600" spc="-3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Raw</a:t>
            </a:r>
            <a:r>
              <a:rPr lang="it-IT" sz="1600" spc="-3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it-IT" sz="1600" spc="-3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Materials</a:t>
            </a:r>
            <a:r>
              <a:rPr lang="it-IT" sz="1600" spc="-3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, Riciclo, Biomasse, Green </a:t>
            </a:r>
            <a:r>
              <a:rPr lang="it-IT" sz="1600" spc="-3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Chemistry</a:t>
            </a:r>
            <a:r>
              <a:rPr lang="it-IT" sz="1600" spc="-3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, Decarbonizzazione</a:t>
            </a:r>
            <a:endParaRPr lang="en-GB" sz="1600" spc="-30" dirty="0"/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AC31180F-BFF1-91B2-29F3-2758DDA33B2A}"/>
              </a:ext>
            </a:extLst>
          </p:cNvPr>
          <p:cNvSpPr/>
          <p:nvPr/>
        </p:nvSpPr>
        <p:spPr>
          <a:xfrm>
            <a:off x="305301" y="1723439"/>
            <a:ext cx="118138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it-IT" sz="1600" b="1" spc="-3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rincipali ambiti disciplinari: </a:t>
            </a:r>
            <a:r>
              <a:rPr lang="en-US" sz="1600" spc="-3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E5 Synthetic Chemistry and Materials, PE11 Materials Engineering</a:t>
            </a:r>
            <a:endParaRPr lang="en-GB" sz="1600" spc="-30" dirty="0"/>
          </a:p>
        </p:txBody>
      </p:sp>
    </p:spTree>
    <p:extLst>
      <p:ext uri="{BB962C8B-B14F-4D97-AF65-F5344CB8AC3E}">
        <p14:creationId xmlns:p14="http://schemas.microsoft.com/office/powerpoint/2010/main" val="30081083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/>
          <p:cNvSpPr/>
          <p:nvPr/>
        </p:nvSpPr>
        <p:spPr>
          <a:xfrm>
            <a:off x="306000" y="377986"/>
            <a:ext cx="51475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rogettualità Hub &amp; Spoke M4C2 componenti</a:t>
            </a:r>
            <a:endParaRPr lang="en-GB" dirty="0"/>
          </a:p>
        </p:txBody>
      </p:sp>
      <p:pic>
        <p:nvPicPr>
          <p:cNvPr id="17" name="Immagine 1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388" y="6425686"/>
            <a:ext cx="1218240" cy="324000"/>
          </a:xfrm>
          <a:prstGeom prst="rect">
            <a:avLst/>
          </a:prstGeom>
        </p:spPr>
      </p:pic>
      <p:pic>
        <p:nvPicPr>
          <p:cNvPr id="18" name="Immagine 17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312932"/>
            <a:ext cx="11618232" cy="25200"/>
          </a:xfrm>
          <a:prstGeom prst="rect">
            <a:avLst/>
          </a:prstGeom>
        </p:spPr>
      </p:pic>
      <p:pic>
        <p:nvPicPr>
          <p:cNvPr id="2" name="Immagine 1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906" y="2331709"/>
            <a:ext cx="963331" cy="680410"/>
          </a:xfrm>
          <a:prstGeom prst="rect">
            <a:avLst/>
          </a:prstGeom>
        </p:spPr>
      </p:pic>
      <p:pic>
        <p:nvPicPr>
          <p:cNvPr id="3" name="Immagine 2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292" y="894099"/>
            <a:ext cx="1181683" cy="835734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378" y="3641078"/>
            <a:ext cx="1038558" cy="367752"/>
          </a:xfrm>
          <a:prstGeom prst="rect">
            <a:avLst/>
          </a:prstGeom>
        </p:spPr>
      </p:pic>
      <p:pic>
        <p:nvPicPr>
          <p:cNvPr id="14" name="Immagine 13"/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147" y="4473656"/>
            <a:ext cx="674935" cy="437826"/>
          </a:xfrm>
          <a:prstGeom prst="rect">
            <a:avLst/>
          </a:prstGeom>
        </p:spPr>
      </p:pic>
      <p:pic>
        <p:nvPicPr>
          <p:cNvPr id="15" name="Immagine 14"/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202" y="5030501"/>
            <a:ext cx="1181683" cy="371908"/>
          </a:xfrm>
          <a:prstGeom prst="rect">
            <a:avLst/>
          </a:prstGeom>
        </p:spPr>
      </p:pic>
      <p:pic>
        <p:nvPicPr>
          <p:cNvPr id="16" name="Immagine 15"/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847" y="5509237"/>
            <a:ext cx="1282802" cy="354909"/>
          </a:xfrm>
          <a:prstGeom prst="rect">
            <a:avLst/>
          </a:prstGeom>
        </p:spPr>
      </p:pic>
      <p:pic>
        <p:nvPicPr>
          <p:cNvPr id="20" name="Immagine 19" descr="Immagine che contiene cerchio, Elementi grafici, simbolo, arte&#10;&#10;Il contenuto generato dall'IA potrebbe non essere corretto.">
            <a:extLst>
              <a:ext uri="{FF2B5EF4-FFF2-40B4-BE49-F238E27FC236}">
                <a16:creationId xmlns:a16="http://schemas.microsoft.com/office/drawing/2014/main" id="{0E4FD4B5-9AC2-5961-8CAD-8962B35D6C55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2128" y="2950521"/>
            <a:ext cx="769384" cy="520617"/>
          </a:xfrm>
          <a:prstGeom prst="rect">
            <a:avLst/>
          </a:prstGeom>
        </p:spPr>
      </p:pic>
      <p:graphicFrame>
        <p:nvGraphicFramePr>
          <p:cNvPr id="28" name="Tabella 27">
            <a:extLst>
              <a:ext uri="{FF2B5EF4-FFF2-40B4-BE49-F238E27FC236}">
                <a16:creationId xmlns:a16="http://schemas.microsoft.com/office/drawing/2014/main" id="{BB38A880-4DBF-6385-0C93-D9ADAB4D23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5124251"/>
              </p:ext>
            </p:extLst>
          </p:nvPr>
        </p:nvGraphicFramePr>
        <p:xfrm>
          <a:off x="412376" y="1036082"/>
          <a:ext cx="11438965" cy="48738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3507">
                  <a:extLst>
                    <a:ext uri="{9D8B030D-6E8A-4147-A177-3AD203B41FA5}">
                      <a16:colId xmlns:a16="http://schemas.microsoft.com/office/drawing/2014/main" val="3399118765"/>
                    </a:ext>
                  </a:extLst>
                </a:gridCol>
                <a:gridCol w="1620647">
                  <a:extLst>
                    <a:ext uri="{9D8B030D-6E8A-4147-A177-3AD203B41FA5}">
                      <a16:colId xmlns:a16="http://schemas.microsoft.com/office/drawing/2014/main" val="1226295907"/>
                    </a:ext>
                  </a:extLst>
                </a:gridCol>
                <a:gridCol w="1646163">
                  <a:extLst>
                    <a:ext uri="{9D8B030D-6E8A-4147-A177-3AD203B41FA5}">
                      <a16:colId xmlns:a16="http://schemas.microsoft.com/office/drawing/2014/main" val="3138129834"/>
                    </a:ext>
                  </a:extLst>
                </a:gridCol>
                <a:gridCol w="7588648">
                  <a:extLst>
                    <a:ext uri="{9D8B030D-6E8A-4147-A177-3AD203B41FA5}">
                      <a16:colId xmlns:a16="http://schemas.microsoft.com/office/drawing/2014/main" val="3413717475"/>
                    </a:ext>
                  </a:extLst>
                </a:gridCol>
              </a:tblGrid>
              <a:tr h="0">
                <a:tc rowSpan="5">
                  <a:txBody>
                    <a:bodyPr/>
                    <a:lstStyle/>
                    <a:p>
                      <a:r>
                        <a:rPr lang="it-IT" sz="14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</a:t>
                      </a: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5">
                  <a:txBody>
                    <a:bodyPr/>
                    <a:lstStyle/>
                    <a:p>
                      <a:endParaRPr lang="it-IT" sz="140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447675" algn="l"/>
                        </a:tabLst>
                      </a:pPr>
                      <a:r>
                        <a:rPr lang="it-IT" sz="1400" b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oke</a:t>
                      </a:r>
                      <a:r>
                        <a:rPr lang="it-IT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3</a:t>
                      </a: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9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een and sustainable products &amp; materials from non-critical &amp; secondary raw sources </a:t>
                      </a:r>
                      <a:endParaRPr lang="it-IT" sz="140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689542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47675" algn="l"/>
                        </a:tabLst>
                        <a:defRPr/>
                      </a:pPr>
                      <a:r>
                        <a:rPr lang="it-IT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filiato </a:t>
                      </a:r>
                      <a:r>
                        <a:rPr lang="it-IT" sz="1400" b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oke</a:t>
                      </a:r>
                      <a:r>
                        <a:rPr lang="it-IT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</a:t>
                      </a: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gital advanced design: technologies, processes, and tools </a:t>
                      </a:r>
                      <a:endParaRPr lang="it-IT" sz="140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763453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47675" algn="l"/>
                        </a:tabLst>
                        <a:defRPr/>
                      </a:pPr>
                      <a:r>
                        <a:rPr lang="it-IT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filiato </a:t>
                      </a:r>
                      <a:r>
                        <a:rPr lang="it-IT" sz="1400" b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oke</a:t>
                      </a:r>
                      <a:r>
                        <a:rPr lang="it-IT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o-Design strategies: from materials to product service systems </a:t>
                      </a:r>
                      <a:endParaRPr lang="it-IT" sz="140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05960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47675" algn="l"/>
                        </a:tabLst>
                        <a:defRPr/>
                      </a:pPr>
                      <a:r>
                        <a:rPr lang="it-IT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filiato </a:t>
                      </a:r>
                      <a:r>
                        <a:rPr lang="it-IT" sz="1400" b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oke</a:t>
                      </a:r>
                      <a:r>
                        <a:rPr lang="it-IT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 and sustainable materials for circular and augmented industrial products and processes</a:t>
                      </a:r>
                      <a:endParaRPr lang="it-IT" sz="140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946220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47675" algn="l"/>
                        </a:tabLst>
                        <a:defRPr/>
                      </a:pPr>
                      <a:r>
                        <a:rPr lang="it-IT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filiato </a:t>
                      </a:r>
                      <a:r>
                        <a:rPr lang="it-IT" sz="1400" b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oke</a:t>
                      </a:r>
                      <a:r>
                        <a:rPr lang="it-IT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6</a:t>
                      </a: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ditive manufacturing as disruptive enabler of the twin transition </a:t>
                      </a:r>
                      <a:endParaRPr lang="it-IT" sz="140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0720360"/>
                  </a:ext>
                </a:extLst>
              </a:tr>
              <a:tr h="410942">
                <a:tc>
                  <a:txBody>
                    <a:bodyPr/>
                    <a:lstStyle/>
                    <a:p>
                      <a:r>
                        <a:rPr lang="it-IT" sz="14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N</a:t>
                      </a: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it-IT" sz="140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filiato </a:t>
                      </a:r>
                      <a:r>
                        <a:rPr lang="it-IT" sz="14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oke</a:t>
                      </a:r>
                      <a:r>
                        <a:rPr lang="it-IT" sz="14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1</a:t>
                      </a: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novative </a:t>
                      </a:r>
                      <a:r>
                        <a:rPr lang="it-IT" sz="1400" b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erials</a:t>
                      </a:r>
                      <a:r>
                        <a:rPr lang="it-IT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</a:t>
                      </a:r>
                      <a:r>
                        <a:rPr lang="it-IT" sz="1400" b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ghtweighting</a:t>
                      </a:r>
                      <a:endParaRPr lang="it-IT" sz="140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2862930"/>
                  </a:ext>
                </a:extLst>
              </a:tr>
              <a:tr h="668976">
                <a:tc>
                  <a:txBody>
                    <a:bodyPr/>
                    <a:lstStyle/>
                    <a:p>
                      <a:r>
                        <a:rPr lang="it-IT" sz="14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N</a:t>
                      </a: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it-IT" sz="140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filiato </a:t>
                      </a:r>
                      <a:r>
                        <a:rPr lang="it-IT" sz="14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oke</a:t>
                      </a:r>
                      <a:r>
                        <a:rPr lang="it-IT" sz="14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8</a:t>
                      </a: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 models of circular economy in agriculture through waste valorization and recycling</a:t>
                      </a:r>
                      <a:endParaRPr lang="it-IT" sz="140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2364645"/>
                  </a:ext>
                </a:extLst>
              </a:tr>
              <a:tr h="254735">
                <a:tc rowSpan="3">
                  <a:txBody>
                    <a:bodyPr/>
                    <a:lstStyle/>
                    <a:p>
                      <a:r>
                        <a:rPr lang="it-IT" sz="14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</a:t>
                      </a: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endParaRPr lang="it-IT" sz="140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tabLst>
                          <a:tab pos="447675" algn="l"/>
                        </a:tabLst>
                      </a:pPr>
                      <a:r>
                        <a:rPr lang="it-IT" sz="14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oke</a:t>
                      </a:r>
                      <a:r>
                        <a:rPr lang="it-IT" sz="14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</a:t>
                      </a: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9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erials for sustainability and ecological transition</a:t>
                      </a:r>
                      <a:endParaRPr lang="it-IT" sz="140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4229896"/>
                  </a:ext>
                </a:extLst>
              </a:tr>
              <a:tr h="284400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47675" algn="l"/>
                        </a:tabLst>
                        <a:defRPr/>
                      </a:pPr>
                      <a:r>
                        <a:rPr lang="it-IT" sz="14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filiato </a:t>
                      </a:r>
                      <a:r>
                        <a:rPr lang="it-IT" sz="14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oke</a:t>
                      </a:r>
                      <a:r>
                        <a:rPr lang="it-IT" sz="14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3</a:t>
                      </a: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een manufacturing for a sustainable economy</a:t>
                      </a:r>
                      <a:endParaRPr lang="it-IT" sz="140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4758792"/>
                  </a:ext>
                </a:extLst>
              </a:tr>
              <a:tr h="254735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47675" algn="l"/>
                        </a:tabLst>
                        <a:defRPr/>
                      </a:pPr>
                      <a:r>
                        <a:rPr lang="it-IT" sz="14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filiato </a:t>
                      </a:r>
                      <a:r>
                        <a:rPr lang="it-IT" sz="14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oke</a:t>
                      </a:r>
                      <a:r>
                        <a:rPr lang="it-IT" sz="14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5</a:t>
                      </a: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rcular economy and blue economy</a:t>
                      </a:r>
                      <a:endParaRPr lang="it-IT" sz="140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2246554"/>
                  </a:ext>
                </a:extLst>
              </a:tr>
              <a:tr h="565001">
                <a:tc>
                  <a:txBody>
                    <a:bodyPr/>
                    <a:lstStyle/>
                    <a:p>
                      <a:r>
                        <a:rPr lang="it-IT" sz="14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</a:t>
                      </a: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it-IT" sz="140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oke</a:t>
                      </a:r>
                      <a:r>
                        <a:rPr lang="it-IT" sz="14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</a:t>
                      </a: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9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crosystems based routes to innovation</a:t>
                      </a:r>
                      <a:endParaRPr lang="it-IT" sz="140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8850122"/>
                  </a:ext>
                </a:extLst>
              </a:tr>
              <a:tr h="475013">
                <a:tc>
                  <a:txBody>
                    <a:bodyPr/>
                    <a:lstStyle/>
                    <a:p>
                      <a:r>
                        <a:rPr lang="it-IT" sz="14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</a:t>
                      </a: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it-IT" sz="140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filiato </a:t>
                      </a:r>
                      <a:r>
                        <a:rPr lang="it-IT" sz="140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oke</a:t>
                      </a:r>
                      <a:r>
                        <a:rPr lang="it-IT" sz="14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ologies to reduce energy consumption and save biodiversity</a:t>
                      </a:r>
                      <a:endParaRPr lang="it-IT" sz="140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8723945"/>
                  </a:ext>
                </a:extLst>
              </a:tr>
              <a:tr h="471055">
                <a:tc>
                  <a:txBody>
                    <a:bodyPr/>
                    <a:lstStyle/>
                    <a:p>
                      <a:r>
                        <a:rPr lang="it-IT" sz="14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R</a:t>
                      </a: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it-IT" sz="140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it-IT" sz="140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ergy transition and circular economy</a:t>
                      </a:r>
                      <a:endParaRPr lang="it-IT" sz="1400" b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36000" marB="36000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8041142"/>
                  </a:ext>
                </a:extLst>
              </a:tr>
            </a:tbl>
          </a:graphicData>
        </a:graphic>
      </p:graphicFrame>
      <p:sp>
        <p:nvSpPr>
          <p:cNvPr id="4" name="Titolo 1">
            <a:extLst>
              <a:ext uri="{FF2B5EF4-FFF2-40B4-BE49-F238E27FC236}">
                <a16:creationId xmlns:a16="http://schemas.microsoft.com/office/drawing/2014/main" id="{DA6C0480-6E06-2DBB-67E1-A84FD77B693E}"/>
              </a:ext>
            </a:extLst>
          </p:cNvPr>
          <p:cNvSpPr txBox="1">
            <a:spLocks/>
          </p:cNvSpPr>
          <p:nvPr/>
        </p:nvSpPr>
        <p:spPr>
          <a:xfrm>
            <a:off x="10434452" y="6402563"/>
            <a:ext cx="1456469" cy="38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15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12351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FBAC85-E4CA-3BC6-AB3D-D540DB8756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Immagine 46"/>
          <p:cNvPicPr>
            <a:picLocks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8400" y="1486800"/>
            <a:ext cx="6789600" cy="4770000"/>
          </a:xfrm>
          <a:prstGeom prst="rect">
            <a:avLst/>
          </a:prstGeom>
        </p:spPr>
      </p:pic>
      <p:sp>
        <p:nvSpPr>
          <p:cNvPr id="8" name="Titolo 1">
            <a:extLst>
              <a:ext uri="{FF2B5EF4-FFF2-40B4-BE49-F238E27FC236}">
                <a16:creationId xmlns:a16="http://schemas.microsoft.com/office/drawing/2014/main" id="{0119EFAA-A9C5-1A90-A665-55F0F89494CF}"/>
              </a:ext>
            </a:extLst>
          </p:cNvPr>
          <p:cNvSpPr txBox="1">
            <a:spLocks/>
          </p:cNvSpPr>
          <p:nvPr/>
        </p:nvSpPr>
        <p:spPr>
          <a:xfrm>
            <a:off x="10434452" y="6402563"/>
            <a:ext cx="1456469" cy="38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15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3264C71D-6705-15F1-8911-493DC163B31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18240" cy="324000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BAEDC591-7DB5-7CC7-F9A0-B18ECAE7E366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312932"/>
            <a:ext cx="11618232" cy="25200"/>
          </a:xfrm>
          <a:prstGeom prst="rect">
            <a:avLst/>
          </a:prstGeom>
        </p:spPr>
      </p:pic>
      <p:sp>
        <p:nvSpPr>
          <p:cNvPr id="4" name="Rettangolo 3">
            <a:extLst>
              <a:ext uri="{FF2B5EF4-FFF2-40B4-BE49-F238E27FC236}">
                <a16:creationId xmlns:a16="http://schemas.microsoft.com/office/drawing/2014/main" id="{A0FD9F6E-AD62-9D65-7F24-C1E01712229A}"/>
              </a:ext>
            </a:extLst>
          </p:cNvPr>
          <p:cNvSpPr/>
          <p:nvPr/>
        </p:nvSpPr>
        <p:spPr>
          <a:xfrm>
            <a:off x="334659" y="1669630"/>
            <a:ext cx="4895877" cy="4555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2900"/>
              </a:lnSpc>
              <a:tabLst>
                <a:tab pos="360363" algn="l"/>
              </a:tabLst>
            </a:pPr>
            <a:r>
              <a:rPr lang="it-IT" sz="1200" spc="-30" dirty="0">
                <a:solidFill>
                  <a:srgbClr val="0096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 Sviluppo di prodotti da rifiuti post-consumo e materie prime seconde </a:t>
            </a:r>
          </a:p>
          <a:p>
            <a:pPr algn="just">
              <a:lnSpc>
                <a:spcPts val="2900"/>
              </a:lnSpc>
              <a:tabLst>
                <a:tab pos="360363" algn="l"/>
              </a:tabLst>
            </a:pPr>
            <a:r>
              <a:rPr lang="it-IT" sz="1200" spc="-3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1 	Depolimerizzazione e </a:t>
            </a:r>
            <a:r>
              <a:rPr lang="it-IT" sz="1200" spc="-3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cycling</a:t>
            </a:r>
            <a:r>
              <a:rPr lang="it-IT" sz="1200" spc="-3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 plastiche e tessuti sintetici</a:t>
            </a:r>
          </a:p>
          <a:p>
            <a:pPr algn="just">
              <a:lnSpc>
                <a:spcPts val="2900"/>
              </a:lnSpc>
              <a:tabLst>
                <a:tab pos="360363" algn="l"/>
              </a:tabLst>
            </a:pPr>
            <a:r>
              <a:rPr lang="it-IT" sz="1200" spc="-3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2 	Urban </a:t>
            </a:r>
            <a:r>
              <a:rPr lang="it-IT" sz="1200" spc="-3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ng</a:t>
            </a:r>
            <a:r>
              <a:rPr lang="it-IT" sz="1200" spc="-3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riciclo di metalli critici da RAEE, magneti e batterie </a:t>
            </a:r>
          </a:p>
          <a:p>
            <a:pPr algn="just">
              <a:lnSpc>
                <a:spcPts val="2900"/>
              </a:lnSpc>
              <a:tabLst>
                <a:tab pos="360363" algn="l"/>
              </a:tabLst>
            </a:pPr>
            <a:r>
              <a:rPr lang="it-IT" sz="1200" spc="-3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3 	Riciclo di materiali da costruzione</a:t>
            </a:r>
          </a:p>
          <a:p>
            <a:pPr algn="just">
              <a:lnSpc>
                <a:spcPts val="2900"/>
              </a:lnSpc>
              <a:tabLst>
                <a:tab pos="360363" algn="l"/>
              </a:tabLst>
            </a:pPr>
            <a:r>
              <a:rPr lang="it-IT" sz="1200" spc="-30" dirty="0">
                <a:solidFill>
                  <a:srgbClr val="0096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 Sviluppo di materiali da risorse non-critiche, rinnovabili e residuali</a:t>
            </a:r>
          </a:p>
          <a:p>
            <a:pPr algn="just">
              <a:lnSpc>
                <a:spcPts val="2900"/>
              </a:lnSpc>
              <a:tabLst>
                <a:tab pos="360363" algn="l"/>
              </a:tabLst>
            </a:pPr>
            <a:r>
              <a:rPr lang="it-IT" sz="1200" spc="-3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1 	Upgrade di minerali abbondanti e secondari</a:t>
            </a:r>
          </a:p>
          <a:p>
            <a:pPr algn="just">
              <a:lnSpc>
                <a:spcPts val="2900"/>
              </a:lnSpc>
              <a:tabLst>
                <a:tab pos="360363" algn="l"/>
              </a:tabLst>
            </a:pPr>
            <a:r>
              <a:rPr lang="it-IT" sz="1200" spc="-3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2 	Valorizzazione della biomassa vegetale non-edibile</a:t>
            </a:r>
          </a:p>
          <a:p>
            <a:pPr algn="just">
              <a:lnSpc>
                <a:spcPts val="2900"/>
              </a:lnSpc>
              <a:tabLst>
                <a:tab pos="360363" algn="l"/>
              </a:tabLst>
            </a:pPr>
            <a:r>
              <a:rPr lang="it-IT" sz="1200" spc="-3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3 	Sfruttamento di residui metallurgici, elettronici e di oreficeria</a:t>
            </a:r>
          </a:p>
          <a:p>
            <a:pPr algn="just">
              <a:lnSpc>
                <a:spcPts val="2900"/>
              </a:lnSpc>
              <a:tabLst>
                <a:tab pos="360363" algn="l"/>
              </a:tabLst>
            </a:pPr>
            <a:r>
              <a:rPr lang="it-IT" sz="1200" spc="-30" dirty="0">
                <a:solidFill>
                  <a:srgbClr val="0096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. Sviluppo di processi sostenibili e materiali intelligenti</a:t>
            </a:r>
          </a:p>
          <a:p>
            <a:pPr algn="just">
              <a:lnSpc>
                <a:spcPts val="2900"/>
              </a:lnSpc>
              <a:tabLst>
                <a:tab pos="360363" algn="l"/>
              </a:tabLst>
            </a:pPr>
            <a:r>
              <a:rPr lang="it-IT" sz="1200" spc="-3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.1 	Funzionalizzazione di prodotti di consumo</a:t>
            </a:r>
          </a:p>
          <a:p>
            <a:pPr algn="just">
              <a:lnSpc>
                <a:spcPts val="2900"/>
              </a:lnSpc>
              <a:tabLst>
                <a:tab pos="360363" algn="l"/>
              </a:tabLst>
            </a:pPr>
            <a:r>
              <a:rPr lang="it-IT" sz="1200" spc="-3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.2 	Materiali innovativi safe-by-design, </a:t>
            </a:r>
            <a:r>
              <a:rPr lang="it-IT" sz="1200" spc="-3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rcular</a:t>
            </a:r>
            <a:r>
              <a:rPr lang="it-IT" sz="1200" spc="-3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by-design, biodegradabili</a:t>
            </a:r>
          </a:p>
          <a:p>
            <a:pPr algn="just">
              <a:lnSpc>
                <a:spcPts val="2900"/>
              </a:lnSpc>
              <a:tabLst>
                <a:tab pos="360363" algn="l"/>
              </a:tabLst>
            </a:pPr>
            <a:r>
              <a:rPr lang="it-IT" sz="1200" spc="-3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.3 	Processi verdi a basso impatto ambientale ed economico</a:t>
            </a:r>
          </a:p>
        </p:txBody>
      </p:sp>
      <p:pic>
        <p:nvPicPr>
          <p:cNvPr id="16" name="Immagine 15">
            <a:extLst>
              <a:ext uri="{FF2B5EF4-FFF2-40B4-BE49-F238E27FC236}">
                <a16:creationId xmlns:a16="http://schemas.microsoft.com/office/drawing/2014/main" id="{1A85EBE4-76E5-4560-BEFB-B9B391A71639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410374" y="666705"/>
            <a:ext cx="757559" cy="535776"/>
          </a:xfrm>
          <a:prstGeom prst="rect">
            <a:avLst/>
          </a:prstGeom>
        </p:spPr>
      </p:pic>
      <p:pic>
        <p:nvPicPr>
          <p:cNvPr id="19" name="Immagine 18">
            <a:extLst>
              <a:ext uri="{FF2B5EF4-FFF2-40B4-BE49-F238E27FC236}">
                <a16:creationId xmlns:a16="http://schemas.microsoft.com/office/drawing/2014/main" id="{98EC4DC6-6494-9744-3FF4-66E64733B985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878026" y="703474"/>
            <a:ext cx="705043" cy="497979"/>
          </a:xfrm>
          <a:prstGeom prst="rect">
            <a:avLst/>
          </a:prstGeom>
        </p:spPr>
      </p:pic>
      <p:pic>
        <p:nvPicPr>
          <p:cNvPr id="20" name="Immagine 19" descr="Immagine che contiene cerchio, Elementi grafici, simbolo, arte&#10;&#10;Il contenuto generato dall'IA potrebbe non essere corretto.">
            <a:extLst>
              <a:ext uri="{FF2B5EF4-FFF2-40B4-BE49-F238E27FC236}">
                <a16:creationId xmlns:a16="http://schemas.microsoft.com/office/drawing/2014/main" id="{4D7CDC33-184C-A178-F04F-E0B3A60CBBAB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419292" y="789998"/>
            <a:ext cx="554265" cy="375053"/>
          </a:xfrm>
          <a:prstGeom prst="rect">
            <a:avLst/>
          </a:prstGeom>
        </p:spPr>
      </p:pic>
      <p:pic>
        <p:nvPicPr>
          <p:cNvPr id="21" name="Immagine 20">
            <a:extLst>
              <a:ext uri="{FF2B5EF4-FFF2-40B4-BE49-F238E27FC236}">
                <a16:creationId xmlns:a16="http://schemas.microsoft.com/office/drawing/2014/main" id="{637BE8E4-9528-6FAE-2CE3-B7D78BFE8E23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9339015" y="833580"/>
            <a:ext cx="634318" cy="224611"/>
          </a:xfrm>
          <a:prstGeom prst="rect">
            <a:avLst/>
          </a:prstGeom>
        </p:spPr>
      </p:pic>
      <p:pic>
        <p:nvPicPr>
          <p:cNvPr id="22" name="Immagine 21">
            <a:extLst>
              <a:ext uri="{FF2B5EF4-FFF2-40B4-BE49-F238E27FC236}">
                <a16:creationId xmlns:a16="http://schemas.microsoft.com/office/drawing/2014/main" id="{EC3B79EF-DBFA-45A5-F058-4EF32CC5BB48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374367" y="855770"/>
            <a:ext cx="494058" cy="320492"/>
          </a:xfrm>
          <a:prstGeom prst="rect">
            <a:avLst/>
          </a:prstGeom>
        </p:spPr>
      </p:pic>
      <p:pic>
        <p:nvPicPr>
          <p:cNvPr id="23" name="Immagine 22">
            <a:extLst>
              <a:ext uri="{FF2B5EF4-FFF2-40B4-BE49-F238E27FC236}">
                <a16:creationId xmlns:a16="http://schemas.microsoft.com/office/drawing/2014/main" id="{09942C06-34CD-9949-B178-1146236FA03C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0697433" y="763434"/>
            <a:ext cx="804682" cy="253255"/>
          </a:xfrm>
          <a:prstGeom prst="rect">
            <a:avLst/>
          </a:prstGeom>
        </p:spPr>
      </p:pic>
      <p:pic>
        <p:nvPicPr>
          <p:cNvPr id="24" name="Immagine 23">
            <a:extLst>
              <a:ext uri="{FF2B5EF4-FFF2-40B4-BE49-F238E27FC236}">
                <a16:creationId xmlns:a16="http://schemas.microsoft.com/office/drawing/2014/main" id="{08B7F1E0-C156-3210-F511-1318B68CFC65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181921" y="780071"/>
            <a:ext cx="776327" cy="214784"/>
          </a:xfrm>
          <a:prstGeom prst="rect">
            <a:avLst/>
          </a:prstGeom>
        </p:spPr>
      </p:pic>
      <p:sp>
        <p:nvSpPr>
          <p:cNvPr id="25" name="Parentesi graffa aperta 24">
            <a:extLst>
              <a:ext uri="{FF2B5EF4-FFF2-40B4-BE49-F238E27FC236}">
                <a16:creationId xmlns:a16="http://schemas.microsoft.com/office/drawing/2014/main" id="{53E0EE21-DB30-43A7-BD4C-4E73120FEF7E}"/>
              </a:ext>
            </a:extLst>
          </p:cNvPr>
          <p:cNvSpPr/>
          <p:nvPr/>
        </p:nvSpPr>
        <p:spPr>
          <a:xfrm rot="5400000">
            <a:off x="6729245" y="213862"/>
            <a:ext cx="144622" cy="2360004"/>
          </a:xfrm>
          <a:prstGeom prst="leftBrace">
            <a:avLst>
              <a:gd name="adj1" fmla="val 22816"/>
              <a:gd name="adj2" fmla="val 50302"/>
            </a:avLst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6" name="Parentesi graffa aperta 25">
            <a:extLst>
              <a:ext uri="{FF2B5EF4-FFF2-40B4-BE49-F238E27FC236}">
                <a16:creationId xmlns:a16="http://schemas.microsoft.com/office/drawing/2014/main" id="{7CCFE373-EDF1-9744-1CBF-1CA5E05A32E7}"/>
              </a:ext>
            </a:extLst>
          </p:cNvPr>
          <p:cNvSpPr/>
          <p:nvPr/>
        </p:nvSpPr>
        <p:spPr>
          <a:xfrm rot="5400000">
            <a:off x="9590517" y="683957"/>
            <a:ext cx="144622" cy="1421763"/>
          </a:xfrm>
          <a:prstGeom prst="leftBrace">
            <a:avLst>
              <a:gd name="adj1" fmla="val 22816"/>
              <a:gd name="adj2" fmla="val 50302"/>
            </a:avLst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27138756-34A3-A7A5-BB14-BC6C38357E02}"/>
              </a:ext>
            </a:extLst>
          </p:cNvPr>
          <p:cNvSpPr/>
          <p:nvPr/>
        </p:nvSpPr>
        <p:spPr>
          <a:xfrm>
            <a:off x="6631378" y="2169214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BE9B6460-EB88-958C-6F01-38E643E550D0}"/>
              </a:ext>
            </a:extLst>
          </p:cNvPr>
          <p:cNvSpPr/>
          <p:nvPr/>
        </p:nvSpPr>
        <p:spPr>
          <a:xfrm>
            <a:off x="6634705" y="2540809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B44B3F45-2C2F-8E54-8604-13AB19AF7BE5}"/>
              </a:ext>
            </a:extLst>
          </p:cNvPr>
          <p:cNvSpPr/>
          <p:nvPr/>
        </p:nvSpPr>
        <p:spPr>
          <a:xfrm>
            <a:off x="6636974" y="3656458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76EBA440-1390-0F44-9D07-612258F4204E}"/>
              </a:ext>
            </a:extLst>
          </p:cNvPr>
          <p:cNvSpPr/>
          <p:nvPr/>
        </p:nvSpPr>
        <p:spPr>
          <a:xfrm>
            <a:off x="6632302" y="4018712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D3775FFE-5B20-946F-23D1-A561797F4180}"/>
              </a:ext>
            </a:extLst>
          </p:cNvPr>
          <p:cNvSpPr/>
          <p:nvPr/>
        </p:nvSpPr>
        <p:spPr>
          <a:xfrm>
            <a:off x="6634571" y="5132521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EB4C715B-1B20-5B42-D47D-B5DC9B25269D}"/>
              </a:ext>
            </a:extLst>
          </p:cNvPr>
          <p:cNvSpPr/>
          <p:nvPr/>
        </p:nvSpPr>
        <p:spPr>
          <a:xfrm>
            <a:off x="6636840" y="5879295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46B700F1-9746-388A-F0BA-8E00AF732F46}"/>
              </a:ext>
            </a:extLst>
          </p:cNvPr>
          <p:cNvSpPr/>
          <p:nvPr/>
        </p:nvSpPr>
        <p:spPr>
          <a:xfrm>
            <a:off x="5678741" y="5505972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FC3E9270-C963-9985-0B2E-5918FD90DA9B}"/>
              </a:ext>
            </a:extLst>
          </p:cNvPr>
          <p:cNvSpPr/>
          <p:nvPr/>
        </p:nvSpPr>
        <p:spPr>
          <a:xfrm>
            <a:off x="6158864" y="5503703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FA60B5F5-E7A0-0BA2-DE23-3ABAA631CCBD}"/>
              </a:ext>
            </a:extLst>
          </p:cNvPr>
          <p:cNvSpPr/>
          <p:nvPr/>
        </p:nvSpPr>
        <p:spPr>
          <a:xfrm>
            <a:off x="7109428" y="4020981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F0CCD14B-AF37-D992-60DB-1DB6847F40D9}"/>
              </a:ext>
            </a:extLst>
          </p:cNvPr>
          <p:cNvSpPr/>
          <p:nvPr/>
        </p:nvSpPr>
        <p:spPr>
          <a:xfrm>
            <a:off x="7590579" y="5877026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7" name="Rettangolo 26">
            <a:extLst>
              <a:ext uri="{FF2B5EF4-FFF2-40B4-BE49-F238E27FC236}">
                <a16:creationId xmlns:a16="http://schemas.microsoft.com/office/drawing/2014/main" id="{46DB4AA2-A91F-BB41-BBF4-C20CFA0C6A23}"/>
              </a:ext>
            </a:extLst>
          </p:cNvPr>
          <p:cNvSpPr/>
          <p:nvPr/>
        </p:nvSpPr>
        <p:spPr>
          <a:xfrm>
            <a:off x="8068234" y="5509093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65F7CDA6-35C2-E946-2462-04AD2F631DDB}"/>
              </a:ext>
            </a:extLst>
          </p:cNvPr>
          <p:cNvSpPr/>
          <p:nvPr/>
        </p:nvSpPr>
        <p:spPr>
          <a:xfrm>
            <a:off x="8064139" y="4394759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Rettangolo 28">
            <a:extLst>
              <a:ext uri="{FF2B5EF4-FFF2-40B4-BE49-F238E27FC236}">
                <a16:creationId xmlns:a16="http://schemas.microsoft.com/office/drawing/2014/main" id="{4473C663-46AB-6F8C-1483-E1718467C2CA}"/>
              </a:ext>
            </a:extLst>
          </p:cNvPr>
          <p:cNvSpPr/>
          <p:nvPr/>
        </p:nvSpPr>
        <p:spPr>
          <a:xfrm>
            <a:off x="8540918" y="4023250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0" name="Rettangolo 29">
            <a:extLst>
              <a:ext uri="{FF2B5EF4-FFF2-40B4-BE49-F238E27FC236}">
                <a16:creationId xmlns:a16="http://schemas.microsoft.com/office/drawing/2014/main" id="{1BD6769E-C1C0-F620-53B0-75EF89D2BF3B}"/>
              </a:ext>
            </a:extLst>
          </p:cNvPr>
          <p:cNvSpPr/>
          <p:nvPr/>
        </p:nvSpPr>
        <p:spPr>
          <a:xfrm>
            <a:off x="9022514" y="4018712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1" name="Rettangolo 30">
            <a:extLst>
              <a:ext uri="{FF2B5EF4-FFF2-40B4-BE49-F238E27FC236}">
                <a16:creationId xmlns:a16="http://schemas.microsoft.com/office/drawing/2014/main" id="{F72F5752-3244-BAD9-5E47-6D880D84C7C4}"/>
              </a:ext>
            </a:extLst>
          </p:cNvPr>
          <p:cNvSpPr/>
          <p:nvPr/>
        </p:nvSpPr>
        <p:spPr>
          <a:xfrm>
            <a:off x="9022514" y="3652043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2" name="Rettangolo 31">
            <a:extLst>
              <a:ext uri="{FF2B5EF4-FFF2-40B4-BE49-F238E27FC236}">
                <a16:creationId xmlns:a16="http://schemas.microsoft.com/office/drawing/2014/main" id="{4FE25701-E6CF-D24C-D100-C66C801EDA6C}"/>
              </a:ext>
            </a:extLst>
          </p:cNvPr>
          <p:cNvSpPr/>
          <p:nvPr/>
        </p:nvSpPr>
        <p:spPr>
          <a:xfrm>
            <a:off x="9502784" y="5874366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3" name="Rettangolo 32">
            <a:extLst>
              <a:ext uri="{FF2B5EF4-FFF2-40B4-BE49-F238E27FC236}">
                <a16:creationId xmlns:a16="http://schemas.microsoft.com/office/drawing/2014/main" id="{1B6EB315-C97F-E602-2D30-D5A277C5672E}"/>
              </a:ext>
            </a:extLst>
          </p:cNvPr>
          <p:cNvSpPr/>
          <p:nvPr/>
        </p:nvSpPr>
        <p:spPr>
          <a:xfrm>
            <a:off x="9981568" y="4020981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4" name="Rettangolo 33">
            <a:extLst>
              <a:ext uri="{FF2B5EF4-FFF2-40B4-BE49-F238E27FC236}">
                <a16:creationId xmlns:a16="http://schemas.microsoft.com/office/drawing/2014/main" id="{F90DB148-360D-AAED-E6D2-E3095ECF5F09}"/>
              </a:ext>
            </a:extLst>
          </p:cNvPr>
          <p:cNvSpPr/>
          <p:nvPr/>
        </p:nvSpPr>
        <p:spPr>
          <a:xfrm>
            <a:off x="10461554" y="3655710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5" name="Rettangolo 34">
            <a:extLst>
              <a:ext uri="{FF2B5EF4-FFF2-40B4-BE49-F238E27FC236}">
                <a16:creationId xmlns:a16="http://schemas.microsoft.com/office/drawing/2014/main" id="{F511E650-32B6-9BD2-1A8F-4F18D9FFFE08}"/>
              </a:ext>
            </a:extLst>
          </p:cNvPr>
          <p:cNvSpPr/>
          <p:nvPr/>
        </p:nvSpPr>
        <p:spPr>
          <a:xfrm>
            <a:off x="10930507" y="2542241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6" name="Rettangolo 35">
            <a:extLst>
              <a:ext uri="{FF2B5EF4-FFF2-40B4-BE49-F238E27FC236}">
                <a16:creationId xmlns:a16="http://schemas.microsoft.com/office/drawing/2014/main" id="{BC84FFB1-2941-A81F-8951-547165B088BC}"/>
              </a:ext>
            </a:extLst>
          </p:cNvPr>
          <p:cNvSpPr/>
          <p:nvPr/>
        </p:nvSpPr>
        <p:spPr>
          <a:xfrm>
            <a:off x="11415765" y="4394920"/>
            <a:ext cx="320088" cy="248902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7" name="Rettangolo 36">
            <a:extLst>
              <a:ext uri="{FF2B5EF4-FFF2-40B4-BE49-F238E27FC236}">
                <a16:creationId xmlns:a16="http://schemas.microsoft.com/office/drawing/2014/main" id="{36AEDD76-C18C-78A9-BDCA-C5C72BC80626}"/>
              </a:ext>
            </a:extLst>
          </p:cNvPr>
          <p:cNvSpPr/>
          <p:nvPr/>
        </p:nvSpPr>
        <p:spPr>
          <a:xfrm>
            <a:off x="7107159" y="2169214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8" name="Rettangolo 37">
            <a:extLst>
              <a:ext uri="{FF2B5EF4-FFF2-40B4-BE49-F238E27FC236}">
                <a16:creationId xmlns:a16="http://schemas.microsoft.com/office/drawing/2014/main" id="{6276BE05-F483-37E9-04B6-0451ADC6FEDF}"/>
              </a:ext>
            </a:extLst>
          </p:cNvPr>
          <p:cNvSpPr/>
          <p:nvPr/>
        </p:nvSpPr>
        <p:spPr>
          <a:xfrm>
            <a:off x="5680468" y="2169214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9" name="Rettangolo 38">
            <a:extLst>
              <a:ext uri="{FF2B5EF4-FFF2-40B4-BE49-F238E27FC236}">
                <a16:creationId xmlns:a16="http://schemas.microsoft.com/office/drawing/2014/main" id="{0986E1C7-EFF2-E72B-C195-25BB52E67B0D}"/>
              </a:ext>
            </a:extLst>
          </p:cNvPr>
          <p:cNvSpPr/>
          <p:nvPr/>
        </p:nvSpPr>
        <p:spPr>
          <a:xfrm>
            <a:off x="6154102" y="2907544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0" name="Rettangolo 39">
            <a:extLst>
              <a:ext uri="{FF2B5EF4-FFF2-40B4-BE49-F238E27FC236}">
                <a16:creationId xmlns:a16="http://schemas.microsoft.com/office/drawing/2014/main" id="{17031688-BACD-77C9-3F34-A07ACA6BAD0B}"/>
              </a:ext>
            </a:extLst>
          </p:cNvPr>
          <p:cNvSpPr/>
          <p:nvPr/>
        </p:nvSpPr>
        <p:spPr>
          <a:xfrm>
            <a:off x="7585463" y="4392957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1" name="Rettangolo 40">
            <a:extLst>
              <a:ext uri="{FF2B5EF4-FFF2-40B4-BE49-F238E27FC236}">
                <a16:creationId xmlns:a16="http://schemas.microsoft.com/office/drawing/2014/main" id="{BAF7E5C3-FCD1-EF59-CCFA-8DE73D3CC941}"/>
              </a:ext>
            </a:extLst>
          </p:cNvPr>
          <p:cNvSpPr/>
          <p:nvPr/>
        </p:nvSpPr>
        <p:spPr>
          <a:xfrm>
            <a:off x="11418207" y="5876117"/>
            <a:ext cx="320088" cy="248902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2" name="Rettangolo 41">
            <a:extLst>
              <a:ext uri="{FF2B5EF4-FFF2-40B4-BE49-F238E27FC236}">
                <a16:creationId xmlns:a16="http://schemas.microsoft.com/office/drawing/2014/main" id="{017229E3-AF8D-63B9-736A-2D61E67FC3F3}"/>
              </a:ext>
            </a:extLst>
          </p:cNvPr>
          <p:cNvSpPr/>
          <p:nvPr/>
        </p:nvSpPr>
        <p:spPr>
          <a:xfrm>
            <a:off x="6636840" y="5506540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3" name="Rettangolo 42">
            <a:extLst>
              <a:ext uri="{FF2B5EF4-FFF2-40B4-BE49-F238E27FC236}">
                <a16:creationId xmlns:a16="http://schemas.microsoft.com/office/drawing/2014/main" id="{9CE84036-24FE-4496-4C65-2AB17AE68455}"/>
              </a:ext>
            </a:extLst>
          </p:cNvPr>
          <p:cNvSpPr/>
          <p:nvPr/>
        </p:nvSpPr>
        <p:spPr>
          <a:xfrm>
            <a:off x="9500668" y="2909813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4" name="Rettangolo 43">
            <a:extLst>
              <a:ext uri="{FF2B5EF4-FFF2-40B4-BE49-F238E27FC236}">
                <a16:creationId xmlns:a16="http://schemas.microsoft.com/office/drawing/2014/main" id="{6FB6338A-E536-2A2D-BD69-0A72C9A09997}"/>
              </a:ext>
            </a:extLst>
          </p:cNvPr>
          <p:cNvSpPr/>
          <p:nvPr/>
        </p:nvSpPr>
        <p:spPr>
          <a:xfrm>
            <a:off x="10461554" y="5876244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5" name="Rettangolo 44">
            <a:extLst>
              <a:ext uri="{FF2B5EF4-FFF2-40B4-BE49-F238E27FC236}">
                <a16:creationId xmlns:a16="http://schemas.microsoft.com/office/drawing/2014/main" id="{1A5877A6-73AA-3DBC-7753-855DA6282974}"/>
              </a:ext>
            </a:extLst>
          </p:cNvPr>
          <p:cNvSpPr/>
          <p:nvPr/>
        </p:nvSpPr>
        <p:spPr>
          <a:xfrm>
            <a:off x="10943486" y="5874366"/>
            <a:ext cx="320088" cy="248902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8" name="Rettangolo 47">
            <a:extLst>
              <a:ext uri="{FF2B5EF4-FFF2-40B4-BE49-F238E27FC236}">
                <a16:creationId xmlns:a16="http://schemas.microsoft.com/office/drawing/2014/main" id="{BC84FFB1-2941-A81F-8951-547165B088BC}"/>
              </a:ext>
            </a:extLst>
          </p:cNvPr>
          <p:cNvSpPr/>
          <p:nvPr/>
        </p:nvSpPr>
        <p:spPr>
          <a:xfrm>
            <a:off x="11418207" y="3657123"/>
            <a:ext cx="320088" cy="248902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9" name="Rettangolo 48">
            <a:extLst>
              <a:ext uri="{FF2B5EF4-FFF2-40B4-BE49-F238E27FC236}">
                <a16:creationId xmlns:a16="http://schemas.microsoft.com/office/drawing/2014/main" id="{BC84FFB1-2941-A81F-8951-547165B088BC}"/>
              </a:ext>
            </a:extLst>
          </p:cNvPr>
          <p:cNvSpPr/>
          <p:nvPr/>
        </p:nvSpPr>
        <p:spPr>
          <a:xfrm>
            <a:off x="11413527" y="2542246"/>
            <a:ext cx="320088" cy="248902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0" name="Rettangolo 49">
            <a:extLst>
              <a:ext uri="{FF2B5EF4-FFF2-40B4-BE49-F238E27FC236}">
                <a16:creationId xmlns:a16="http://schemas.microsoft.com/office/drawing/2014/main" id="{BC84FFB1-2941-A81F-8951-547165B088BC}"/>
              </a:ext>
            </a:extLst>
          </p:cNvPr>
          <p:cNvSpPr/>
          <p:nvPr/>
        </p:nvSpPr>
        <p:spPr>
          <a:xfrm>
            <a:off x="11419223" y="5135569"/>
            <a:ext cx="320088" cy="248902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35129D01-6ED7-D161-69B5-5DF5241B3A37}"/>
              </a:ext>
            </a:extLst>
          </p:cNvPr>
          <p:cNvSpPr/>
          <p:nvPr/>
        </p:nvSpPr>
        <p:spPr>
          <a:xfrm>
            <a:off x="306000" y="377986"/>
            <a:ext cx="51475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rogettualità Hub &amp; Spoke M4C2 component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42042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/>
          <p:cNvSpPr/>
          <p:nvPr/>
        </p:nvSpPr>
        <p:spPr>
          <a:xfrm>
            <a:off x="306000" y="384336"/>
            <a:ext cx="30444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Dipartimenti e Istituti CNR</a:t>
            </a:r>
            <a:endParaRPr lang="en-GB" dirty="0"/>
          </a:p>
        </p:txBody>
      </p:sp>
      <p:pic>
        <p:nvPicPr>
          <p:cNvPr id="17" name="Immagine 1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18240" cy="324000"/>
          </a:xfrm>
          <a:prstGeom prst="rect">
            <a:avLst/>
          </a:prstGeom>
        </p:spPr>
      </p:pic>
      <p:pic>
        <p:nvPicPr>
          <p:cNvPr id="18" name="Immagine 17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312932"/>
            <a:ext cx="11618232" cy="25200"/>
          </a:xfrm>
          <a:prstGeom prst="rect">
            <a:avLst/>
          </a:prstGeom>
        </p:spPr>
      </p:pic>
      <p:graphicFrame>
        <p:nvGraphicFramePr>
          <p:cNvPr id="21" name="Tabella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5454812"/>
              </p:ext>
            </p:extLst>
          </p:nvPr>
        </p:nvGraphicFramePr>
        <p:xfrm>
          <a:off x="393306" y="1666761"/>
          <a:ext cx="9863016" cy="445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3836">
                  <a:extLst>
                    <a:ext uri="{9D8B030D-6E8A-4147-A177-3AD203B41FA5}">
                      <a16:colId xmlns:a16="http://schemas.microsoft.com/office/drawing/2014/main" val="3300702004"/>
                    </a:ext>
                  </a:extLst>
                </a:gridCol>
                <a:gridCol w="1643836">
                  <a:extLst>
                    <a:ext uri="{9D8B030D-6E8A-4147-A177-3AD203B41FA5}">
                      <a16:colId xmlns:a16="http://schemas.microsoft.com/office/drawing/2014/main" val="141131690"/>
                    </a:ext>
                  </a:extLst>
                </a:gridCol>
                <a:gridCol w="1643836">
                  <a:extLst>
                    <a:ext uri="{9D8B030D-6E8A-4147-A177-3AD203B41FA5}">
                      <a16:colId xmlns:a16="http://schemas.microsoft.com/office/drawing/2014/main" val="2040783545"/>
                    </a:ext>
                  </a:extLst>
                </a:gridCol>
                <a:gridCol w="1643836">
                  <a:extLst>
                    <a:ext uri="{9D8B030D-6E8A-4147-A177-3AD203B41FA5}">
                      <a16:colId xmlns:a16="http://schemas.microsoft.com/office/drawing/2014/main" val="3586228309"/>
                    </a:ext>
                  </a:extLst>
                </a:gridCol>
                <a:gridCol w="1643836">
                  <a:extLst>
                    <a:ext uri="{9D8B030D-6E8A-4147-A177-3AD203B41FA5}">
                      <a16:colId xmlns:a16="http://schemas.microsoft.com/office/drawing/2014/main" val="2686205656"/>
                    </a:ext>
                  </a:extLst>
                </a:gridCol>
                <a:gridCol w="1643836">
                  <a:extLst>
                    <a:ext uri="{9D8B030D-6E8A-4147-A177-3AD203B41FA5}">
                      <a16:colId xmlns:a16="http://schemas.microsoft.com/office/drawing/2014/main" val="356911311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SCTM</a:t>
                      </a:r>
                    </a:p>
                  </a:txBody>
                  <a:tcPr marL="216000" marR="7620" marT="36000" marB="36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ITET</a:t>
                      </a:r>
                    </a:p>
                  </a:txBody>
                  <a:tcPr marL="216000" marR="7620" marT="36000" marB="36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BA</a:t>
                      </a:r>
                    </a:p>
                  </a:txBody>
                  <a:tcPr marL="216000" marR="7620" marT="36000" marB="36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SSTTA</a:t>
                      </a:r>
                    </a:p>
                  </a:txBody>
                  <a:tcPr marL="216000" marR="7620" marT="36000" marB="36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SFTM</a:t>
                      </a:r>
                    </a:p>
                  </a:txBody>
                  <a:tcPr marL="216000" marR="7620" marT="36000" marB="36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SB</a:t>
                      </a:r>
                    </a:p>
                  </a:txBody>
                  <a:tcPr marL="216000" marR="7620" marT="36000" marB="3600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06418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COM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TI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BE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AC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NO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GM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71661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ITEC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IIMA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AFOM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MAR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M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49817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SMC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EM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BBR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M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46219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M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EMS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PSP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85348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PCF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PA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2130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PCB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BBA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33951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MN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PAAM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09299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MATE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A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3562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B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77363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85499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OF</a:t>
                      </a: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16000" marR="7620" marT="360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121769"/>
                  </a:ext>
                </a:extLst>
              </a:tr>
            </a:tbl>
          </a:graphicData>
        </a:graphic>
      </p:graphicFrame>
      <p:pic>
        <p:nvPicPr>
          <p:cNvPr id="3" name="Immagine 2">
            <a:extLst>
              <a:ext uri="{FF2B5EF4-FFF2-40B4-BE49-F238E27FC236}">
                <a16:creationId xmlns:a16="http://schemas.microsoft.com/office/drawing/2014/main" id="{50BB5E47-31DB-D166-2694-EE8585823D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1172" y="1162875"/>
            <a:ext cx="1122942" cy="290944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E6E36B97-87C4-9E13-7586-E6A2A58E6E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07493" y="1069460"/>
            <a:ext cx="805720" cy="47777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2BBF16EC-838C-8E75-1211-D362373F78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24"/>
          <a:stretch/>
        </p:blipFill>
        <p:spPr bwMode="auto">
          <a:xfrm>
            <a:off x="3873424" y="1149012"/>
            <a:ext cx="1153787" cy="318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NR DSSTTA">
            <a:extLst>
              <a:ext uri="{FF2B5EF4-FFF2-40B4-BE49-F238E27FC236}">
                <a16:creationId xmlns:a16="http://schemas.microsoft.com/office/drawing/2014/main" id="{4D386F2F-8C5C-F319-D838-88631C29189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336"/>
          <a:stretch/>
        </p:blipFill>
        <p:spPr bwMode="auto">
          <a:xfrm>
            <a:off x="5701493" y="1183912"/>
            <a:ext cx="904298" cy="248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ito DSB-CNR">
            <a:extLst>
              <a:ext uri="{FF2B5EF4-FFF2-40B4-BE49-F238E27FC236}">
                <a16:creationId xmlns:a16="http://schemas.microsoft.com/office/drawing/2014/main" id="{BA27CCD2-9990-4ACF-7825-10BC87C452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280"/>
          <a:stretch/>
        </p:blipFill>
        <p:spPr bwMode="auto">
          <a:xfrm>
            <a:off x="8852174" y="1149685"/>
            <a:ext cx="1103428" cy="317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NanoInnovation 2019 - Home">
            <a:extLst>
              <a:ext uri="{FF2B5EF4-FFF2-40B4-BE49-F238E27FC236}">
                <a16:creationId xmlns:a16="http://schemas.microsoft.com/office/drawing/2014/main" id="{E332AC80-B59B-B07A-B57B-9AD7D9E40F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25" t="8612" r="25518" b="9716"/>
          <a:stretch/>
        </p:blipFill>
        <p:spPr bwMode="auto">
          <a:xfrm>
            <a:off x="7483501" y="1013334"/>
            <a:ext cx="521719" cy="590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olo 1">
            <a:extLst>
              <a:ext uri="{FF2B5EF4-FFF2-40B4-BE49-F238E27FC236}">
                <a16:creationId xmlns:a16="http://schemas.microsoft.com/office/drawing/2014/main" id="{8DFFA572-7006-7E97-E837-E08AA6E3AE08}"/>
              </a:ext>
            </a:extLst>
          </p:cNvPr>
          <p:cNvSpPr txBox="1">
            <a:spLocks/>
          </p:cNvSpPr>
          <p:nvPr/>
        </p:nvSpPr>
        <p:spPr>
          <a:xfrm>
            <a:off x="10434452" y="6402563"/>
            <a:ext cx="1456469" cy="38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15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12769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B3EB14F-F9DD-47C5-79FB-421C9A2CFD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magine 16">
            <a:extLst>
              <a:ext uri="{FF2B5EF4-FFF2-40B4-BE49-F238E27FC236}">
                <a16:creationId xmlns:a16="http://schemas.microsoft.com/office/drawing/2014/main" id="{A00722F8-08BC-3C22-6990-BDF290E00F3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18240" cy="324000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5382EA38-ADD7-322C-8730-0B9AC3687CDF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312932"/>
            <a:ext cx="11618232" cy="25200"/>
          </a:xfrm>
          <a:prstGeom prst="rect">
            <a:avLst/>
          </a:prstGeom>
        </p:spPr>
      </p:pic>
      <p:graphicFrame>
        <p:nvGraphicFramePr>
          <p:cNvPr id="2" name="Tabella 1">
            <a:extLst>
              <a:ext uri="{FF2B5EF4-FFF2-40B4-BE49-F238E27FC236}">
                <a16:creationId xmlns:a16="http://schemas.microsoft.com/office/drawing/2014/main" id="{CC69D180-E685-DCD5-42FA-9CB0320F96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5146157"/>
              </p:ext>
            </p:extLst>
          </p:nvPr>
        </p:nvGraphicFramePr>
        <p:xfrm>
          <a:off x="372525" y="1492967"/>
          <a:ext cx="11483794" cy="37318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1354">
                  <a:extLst>
                    <a:ext uri="{9D8B030D-6E8A-4147-A177-3AD203B41FA5}">
                      <a16:colId xmlns:a16="http://schemas.microsoft.com/office/drawing/2014/main" val="3574130643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2383427613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1020473152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1171660658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4072984196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155449922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516719766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3033802254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548552547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392721276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1704422916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1450637680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3978342205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730263898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382094852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2401234237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1608209640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4159141260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3546247598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4018710687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3440219555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32021474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1873371868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3586168300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2874219730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194884154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2352972648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2326963686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2811854950"/>
                    </a:ext>
                  </a:extLst>
                </a:gridCol>
                <a:gridCol w="358360">
                  <a:extLst>
                    <a:ext uri="{9D8B030D-6E8A-4147-A177-3AD203B41FA5}">
                      <a16:colId xmlns:a16="http://schemas.microsoft.com/office/drawing/2014/main" val="1620847023"/>
                    </a:ext>
                  </a:extLst>
                </a:gridCol>
              </a:tblGrid>
              <a:tr h="707868">
                <a:tc>
                  <a:txBody>
                    <a:bodyPr/>
                    <a:lstStyle/>
                    <a:p>
                      <a:pPr algn="l"/>
                      <a:r>
                        <a:rPr lang="it-IT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etto</a:t>
                      </a:r>
                    </a:p>
                  </a:txBody>
                  <a:tcPr marL="72000" marR="36000" anchor="ctr"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COM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ITEC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SMC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M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PCF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PCB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MN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MATE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B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OF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TI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IIMA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EM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EMS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BE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AC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MAR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NO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M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M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GM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AFOM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BBR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PSP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PA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BBA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PAAM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A</a:t>
                      </a:r>
                    </a:p>
                  </a:txBody>
                  <a:tcPr marL="36000" marR="36000" vert="vert27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528145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l"/>
                      <a:r>
                        <a:rPr lang="it-IT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CS</a:t>
                      </a:r>
                    </a:p>
                  </a:txBody>
                  <a:tcPr marL="72000" marR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388418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l"/>
                      <a:r>
                        <a:rPr lang="it-IT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ST</a:t>
                      </a:r>
                    </a:p>
                  </a:txBody>
                  <a:tcPr marL="72000" marR="3600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798728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l"/>
                      <a:r>
                        <a:rPr lang="it-IT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ritech</a:t>
                      </a:r>
                    </a:p>
                  </a:txBody>
                  <a:tcPr marL="72000" marR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382534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l"/>
                      <a:r>
                        <a:rPr lang="it-IT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OSISTER</a:t>
                      </a:r>
                    </a:p>
                  </a:txBody>
                  <a:tcPr marL="72000" marR="3600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750696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l"/>
                      <a:r>
                        <a:rPr lang="it-IT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MOTHRACE</a:t>
                      </a:r>
                    </a:p>
                  </a:txBody>
                  <a:tcPr marL="72000" marR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314099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l"/>
                      <a:r>
                        <a:rPr lang="it-IT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4You</a:t>
                      </a:r>
                    </a:p>
                  </a:txBody>
                  <a:tcPr marL="72000" marR="36000"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9674509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l"/>
                      <a:r>
                        <a:rPr lang="it-IT" sz="1000" b="1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ENTRANCE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  <a:endParaRPr lang="en-GB" sz="10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√</a:t>
                      </a: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9506992"/>
                  </a:ext>
                </a:extLst>
              </a:tr>
            </a:tbl>
          </a:graphicData>
        </a:graphic>
      </p:graphicFrame>
      <p:sp>
        <p:nvSpPr>
          <p:cNvPr id="3" name="Titolo 1">
            <a:extLst>
              <a:ext uri="{FF2B5EF4-FFF2-40B4-BE49-F238E27FC236}">
                <a16:creationId xmlns:a16="http://schemas.microsoft.com/office/drawing/2014/main" id="{202C03B3-75F3-D50C-8587-31BE54D28EAB}"/>
              </a:ext>
            </a:extLst>
          </p:cNvPr>
          <p:cNvSpPr txBox="1">
            <a:spLocks/>
          </p:cNvSpPr>
          <p:nvPr/>
        </p:nvSpPr>
        <p:spPr>
          <a:xfrm>
            <a:off x="10434452" y="6402563"/>
            <a:ext cx="1456469" cy="38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15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0580BB27-7700-3AFB-4EF4-FA293B6811F1}"/>
              </a:ext>
            </a:extLst>
          </p:cNvPr>
          <p:cNvSpPr/>
          <p:nvPr/>
        </p:nvSpPr>
        <p:spPr>
          <a:xfrm>
            <a:off x="306000" y="384336"/>
            <a:ext cx="30444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Dipartimenti e Istituti CN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65268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A5E60C-B958-76E5-E017-A223CE93BE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abella 18">
            <a:extLst>
              <a:ext uri="{FF2B5EF4-FFF2-40B4-BE49-F238E27FC236}">
                <a16:creationId xmlns:a16="http://schemas.microsoft.com/office/drawing/2014/main" id="{0C0FDC66-893D-EF9E-401A-8EEE23D56E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3727722"/>
              </p:ext>
            </p:extLst>
          </p:nvPr>
        </p:nvGraphicFramePr>
        <p:xfrm>
          <a:off x="422579" y="1317184"/>
          <a:ext cx="11274615" cy="38796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2735">
                  <a:extLst>
                    <a:ext uri="{9D8B030D-6E8A-4147-A177-3AD203B41FA5}">
                      <a16:colId xmlns:a16="http://schemas.microsoft.com/office/drawing/2014/main" val="1916249392"/>
                    </a:ext>
                  </a:extLst>
                </a:gridCol>
                <a:gridCol w="1252735">
                  <a:extLst>
                    <a:ext uri="{9D8B030D-6E8A-4147-A177-3AD203B41FA5}">
                      <a16:colId xmlns:a16="http://schemas.microsoft.com/office/drawing/2014/main" val="3773297526"/>
                    </a:ext>
                  </a:extLst>
                </a:gridCol>
                <a:gridCol w="1252735">
                  <a:extLst>
                    <a:ext uri="{9D8B030D-6E8A-4147-A177-3AD203B41FA5}">
                      <a16:colId xmlns:a16="http://schemas.microsoft.com/office/drawing/2014/main" val="3925248058"/>
                    </a:ext>
                  </a:extLst>
                </a:gridCol>
                <a:gridCol w="1252735">
                  <a:extLst>
                    <a:ext uri="{9D8B030D-6E8A-4147-A177-3AD203B41FA5}">
                      <a16:colId xmlns:a16="http://schemas.microsoft.com/office/drawing/2014/main" val="2438523473"/>
                    </a:ext>
                  </a:extLst>
                </a:gridCol>
                <a:gridCol w="1252735">
                  <a:extLst>
                    <a:ext uri="{9D8B030D-6E8A-4147-A177-3AD203B41FA5}">
                      <a16:colId xmlns:a16="http://schemas.microsoft.com/office/drawing/2014/main" val="2886848621"/>
                    </a:ext>
                  </a:extLst>
                </a:gridCol>
                <a:gridCol w="1252735">
                  <a:extLst>
                    <a:ext uri="{9D8B030D-6E8A-4147-A177-3AD203B41FA5}">
                      <a16:colId xmlns:a16="http://schemas.microsoft.com/office/drawing/2014/main" val="2549066355"/>
                    </a:ext>
                  </a:extLst>
                </a:gridCol>
                <a:gridCol w="1252735">
                  <a:extLst>
                    <a:ext uri="{9D8B030D-6E8A-4147-A177-3AD203B41FA5}">
                      <a16:colId xmlns:a16="http://schemas.microsoft.com/office/drawing/2014/main" val="7763139"/>
                    </a:ext>
                  </a:extLst>
                </a:gridCol>
                <a:gridCol w="1252735">
                  <a:extLst>
                    <a:ext uri="{9D8B030D-6E8A-4147-A177-3AD203B41FA5}">
                      <a16:colId xmlns:a16="http://schemas.microsoft.com/office/drawing/2014/main" val="2776165873"/>
                    </a:ext>
                  </a:extLst>
                </a:gridCol>
                <a:gridCol w="1252735">
                  <a:extLst>
                    <a:ext uri="{9D8B030D-6E8A-4147-A177-3AD203B41FA5}">
                      <a16:colId xmlns:a16="http://schemas.microsoft.com/office/drawing/2014/main" val="1776088652"/>
                    </a:ext>
                  </a:extLst>
                </a:gridCol>
              </a:tblGrid>
              <a:tr h="301132">
                <a:tc gridSpan="9">
                  <a:txBody>
                    <a:bodyPr/>
                    <a:lstStyle/>
                    <a:p>
                      <a:endParaRPr lang="en-GB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144741"/>
                  </a:ext>
                </a:extLst>
              </a:tr>
              <a:tr h="570701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oke</a:t>
                      </a:r>
                    </a:p>
                  </a:txBody>
                  <a:tcPr anchor="ctr"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CS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ST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ritech</a:t>
                      </a:r>
                      <a:endParaRPr lang="en-GB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OSISTER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MOTHRACE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4You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ENTRANCE</a:t>
                      </a:r>
                      <a:endParaRPr lang="en-GB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698383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6.053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574.999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876674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5.469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744.426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819189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010.599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5.976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939918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1.646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.053.535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872058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0.497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174952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2.078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016236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598.211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56756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430.012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7648661"/>
                  </a:ext>
                </a:extLst>
              </a:tr>
              <a:tr h="415823">
                <a:tc>
                  <a:txBody>
                    <a:bodyPr/>
                    <a:lstStyle/>
                    <a:p>
                      <a:r>
                        <a:rPr lang="en-GB" sz="12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lang="en-GB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075.845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430.012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598.211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301.472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.053.535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744.726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.000.000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1.203.511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865099"/>
                  </a:ext>
                </a:extLst>
              </a:tr>
            </a:tbl>
          </a:graphicData>
        </a:graphic>
      </p:graphicFrame>
      <p:sp>
        <p:nvSpPr>
          <p:cNvPr id="10" name="Rettangolo 9">
            <a:extLst>
              <a:ext uri="{FF2B5EF4-FFF2-40B4-BE49-F238E27FC236}">
                <a16:creationId xmlns:a16="http://schemas.microsoft.com/office/drawing/2014/main" id="{71D753E6-FF30-3D8A-075C-EEF71859D245}"/>
              </a:ext>
            </a:extLst>
          </p:cNvPr>
          <p:cNvSpPr/>
          <p:nvPr/>
        </p:nvSpPr>
        <p:spPr>
          <a:xfrm>
            <a:off x="306000" y="377986"/>
            <a:ext cx="25186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Finanziamento PNRR</a:t>
            </a:r>
            <a:endParaRPr lang="en-GB" dirty="0"/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C6EEF2FB-74D9-AFC0-2C87-5347F9E2EA1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18240" cy="324000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A85CB0EE-5F23-2958-B832-B114A400B1B5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312932"/>
            <a:ext cx="11618232" cy="25200"/>
          </a:xfrm>
          <a:prstGeom prst="rect">
            <a:avLst/>
          </a:prstGeom>
        </p:spPr>
      </p:pic>
      <p:sp>
        <p:nvSpPr>
          <p:cNvPr id="20" name="Titolo 1">
            <a:extLst>
              <a:ext uri="{FF2B5EF4-FFF2-40B4-BE49-F238E27FC236}">
                <a16:creationId xmlns:a16="http://schemas.microsoft.com/office/drawing/2014/main" id="{1A08B06F-87C1-45EC-81AA-B6F155597705}"/>
              </a:ext>
            </a:extLst>
          </p:cNvPr>
          <p:cNvSpPr txBox="1">
            <a:spLocks/>
          </p:cNvSpPr>
          <p:nvPr/>
        </p:nvSpPr>
        <p:spPr>
          <a:xfrm>
            <a:off x="10434452" y="6402563"/>
            <a:ext cx="1456469" cy="38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15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09851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08E43D-3967-EA0C-9DAF-4DB179CCD8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abella 18">
            <a:extLst>
              <a:ext uri="{FF2B5EF4-FFF2-40B4-BE49-F238E27FC236}">
                <a16:creationId xmlns:a16="http://schemas.microsoft.com/office/drawing/2014/main" id="{1ADA70E0-B25C-CCDA-51AB-6DEBB3A2CE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2074948"/>
              </p:ext>
            </p:extLst>
          </p:nvPr>
        </p:nvGraphicFramePr>
        <p:xfrm>
          <a:off x="422579" y="1317184"/>
          <a:ext cx="11274615" cy="38796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2735">
                  <a:extLst>
                    <a:ext uri="{9D8B030D-6E8A-4147-A177-3AD203B41FA5}">
                      <a16:colId xmlns:a16="http://schemas.microsoft.com/office/drawing/2014/main" val="1916249392"/>
                    </a:ext>
                  </a:extLst>
                </a:gridCol>
                <a:gridCol w="1252735">
                  <a:extLst>
                    <a:ext uri="{9D8B030D-6E8A-4147-A177-3AD203B41FA5}">
                      <a16:colId xmlns:a16="http://schemas.microsoft.com/office/drawing/2014/main" val="3773297526"/>
                    </a:ext>
                  </a:extLst>
                </a:gridCol>
                <a:gridCol w="1252735">
                  <a:extLst>
                    <a:ext uri="{9D8B030D-6E8A-4147-A177-3AD203B41FA5}">
                      <a16:colId xmlns:a16="http://schemas.microsoft.com/office/drawing/2014/main" val="3925248058"/>
                    </a:ext>
                  </a:extLst>
                </a:gridCol>
                <a:gridCol w="1252735">
                  <a:extLst>
                    <a:ext uri="{9D8B030D-6E8A-4147-A177-3AD203B41FA5}">
                      <a16:colId xmlns:a16="http://schemas.microsoft.com/office/drawing/2014/main" val="2438523473"/>
                    </a:ext>
                  </a:extLst>
                </a:gridCol>
                <a:gridCol w="1252735">
                  <a:extLst>
                    <a:ext uri="{9D8B030D-6E8A-4147-A177-3AD203B41FA5}">
                      <a16:colId xmlns:a16="http://schemas.microsoft.com/office/drawing/2014/main" val="2886848621"/>
                    </a:ext>
                  </a:extLst>
                </a:gridCol>
                <a:gridCol w="1252735">
                  <a:extLst>
                    <a:ext uri="{9D8B030D-6E8A-4147-A177-3AD203B41FA5}">
                      <a16:colId xmlns:a16="http://schemas.microsoft.com/office/drawing/2014/main" val="2549066355"/>
                    </a:ext>
                  </a:extLst>
                </a:gridCol>
                <a:gridCol w="1252735">
                  <a:extLst>
                    <a:ext uri="{9D8B030D-6E8A-4147-A177-3AD203B41FA5}">
                      <a16:colId xmlns:a16="http://schemas.microsoft.com/office/drawing/2014/main" val="7763139"/>
                    </a:ext>
                  </a:extLst>
                </a:gridCol>
                <a:gridCol w="1252735">
                  <a:extLst>
                    <a:ext uri="{9D8B030D-6E8A-4147-A177-3AD203B41FA5}">
                      <a16:colId xmlns:a16="http://schemas.microsoft.com/office/drawing/2014/main" val="2776165873"/>
                    </a:ext>
                  </a:extLst>
                </a:gridCol>
                <a:gridCol w="1252735">
                  <a:extLst>
                    <a:ext uri="{9D8B030D-6E8A-4147-A177-3AD203B41FA5}">
                      <a16:colId xmlns:a16="http://schemas.microsoft.com/office/drawing/2014/main" val="1776088652"/>
                    </a:ext>
                  </a:extLst>
                </a:gridCol>
              </a:tblGrid>
              <a:tr h="301132">
                <a:tc gridSpan="9">
                  <a:txBody>
                    <a:bodyPr/>
                    <a:lstStyle/>
                    <a:p>
                      <a:endParaRPr lang="en-GB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144741"/>
                  </a:ext>
                </a:extLst>
              </a:tr>
              <a:tr h="570701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oke</a:t>
                      </a:r>
                    </a:p>
                  </a:txBody>
                  <a:tcPr anchor="ctr"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CS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ST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ritech</a:t>
                      </a:r>
                      <a:endParaRPr lang="en-GB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OSISTER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MOTHRACE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4You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ENTRANCE</a:t>
                      </a:r>
                      <a:endParaRPr lang="en-GB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698383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8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876674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819189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939918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6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872058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174952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016236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56756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GB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anchor="ctr">
                    <a:solidFill>
                      <a:schemeClr val="tx2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7648661"/>
                  </a:ext>
                </a:extLst>
              </a:tr>
              <a:tr h="415823">
                <a:tc>
                  <a:txBody>
                    <a:bodyPr/>
                    <a:lstStyle/>
                    <a:p>
                      <a:r>
                        <a:rPr lang="en-GB" sz="12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lang="en-GB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3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6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5</a:t>
                      </a:r>
                    </a:p>
                  </a:txBody>
                  <a:tcPr marL="72000" marR="7200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3865099"/>
                  </a:ext>
                </a:extLst>
              </a:tr>
            </a:tbl>
          </a:graphicData>
        </a:graphic>
      </p:graphicFrame>
      <p:sp>
        <p:nvSpPr>
          <p:cNvPr id="10" name="Rettangolo 9">
            <a:extLst>
              <a:ext uri="{FF2B5EF4-FFF2-40B4-BE49-F238E27FC236}">
                <a16:creationId xmlns:a16="http://schemas.microsoft.com/office/drawing/2014/main" id="{098FAA75-90D4-6494-EB81-9346E12E0F17}"/>
              </a:ext>
            </a:extLst>
          </p:cNvPr>
          <p:cNvSpPr/>
          <p:nvPr/>
        </p:nvSpPr>
        <p:spPr>
          <a:xfrm>
            <a:off x="306000" y="377986"/>
            <a:ext cx="37882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600"/>
              </a:spcAft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Numero di ricercatori TI coinvolti</a:t>
            </a:r>
            <a:endParaRPr lang="en-GB" dirty="0"/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62BB176C-66A0-59EA-DB07-B72374A4FCD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70" y="6425686"/>
            <a:ext cx="1218240" cy="324000"/>
          </a:xfrm>
          <a:prstGeom prst="rect">
            <a:avLst/>
          </a:prstGeom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77635168-2240-6740-0466-FFFCAE22AD51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05301" y="6312932"/>
            <a:ext cx="11618232" cy="25200"/>
          </a:xfrm>
          <a:prstGeom prst="rect">
            <a:avLst/>
          </a:prstGeom>
        </p:spPr>
      </p:pic>
      <p:sp>
        <p:nvSpPr>
          <p:cNvPr id="20" name="Titolo 1">
            <a:extLst>
              <a:ext uri="{FF2B5EF4-FFF2-40B4-BE49-F238E27FC236}">
                <a16:creationId xmlns:a16="http://schemas.microsoft.com/office/drawing/2014/main" id="{1B3A835F-2CCA-191F-A4A1-C05143AB9361}"/>
              </a:ext>
            </a:extLst>
          </p:cNvPr>
          <p:cNvSpPr txBox="1">
            <a:spLocks/>
          </p:cNvSpPr>
          <p:nvPr/>
        </p:nvSpPr>
        <p:spPr>
          <a:xfrm>
            <a:off x="10434452" y="6402563"/>
            <a:ext cx="1456469" cy="3869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SCO</a:t>
            </a:r>
            <a:endParaRPr lang="en-GB" sz="15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777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E16FC42_0E37_4D37_AEB0_8B89DD4C6A79&quot;,&quot;SourceFullName&quot;:&quot;\\\\Users\\MarcoSpaltini\\Dropbox (DIG)\\PNRR PE-MG\\Ricerca industriale\\Ricerca settori italia 2021 v.2.xlsx&quot;,&quot;LastUpdate&quot;:&quot;2022-04-01 2:45 PM&quot;,&quot;UpdatedBy&quot;:&quot;JP217VC&quot;,&quot;IsLinked&quot;:false,&quot;IsBrokenLink&quot;:false,&quot;Type&quot;:1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778E422_D956_467C_B08D_17784C47D067&quot;,&quot;SourceFullName&quot;:&quot;\\\\Users\\MarcoSpaltini\\Dropbox (DIG)\\PNRR PE-MG\\Ricerca industriale\\Ricerca settori italia 2021 v.2.xlsx&quot;,&quot;LastUpdate&quot;:&quot;2022-04-01 2:51 PM&quot;,&quot;UpdatedBy&quot;:&quot;JP217VC&quot;,&quot;IsLinked&quot;:false,&quot;IsBrokenLink&quot;:false,&quot;Type&quot;:1}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637048354258549979">
    <a:dk1>
      <a:srgbClr val="000000"/>
    </a:dk1>
    <a:lt1>
      <a:srgbClr val="646464"/>
    </a:lt1>
    <a:dk2>
      <a:srgbClr val="FFFFFF"/>
    </a:dk2>
    <a:lt2>
      <a:srgbClr val="646464"/>
    </a:lt2>
    <a:accent1>
      <a:srgbClr val="808080"/>
    </a:accent1>
    <a:accent2>
      <a:srgbClr val="FFE600"/>
    </a:accent2>
    <a:accent3>
      <a:srgbClr val="999999"/>
    </a:accent3>
    <a:accent4>
      <a:srgbClr val="F0F0F0"/>
    </a:accent4>
    <a:accent5>
      <a:srgbClr val="00A3AE"/>
    </a:accent5>
    <a:accent6>
      <a:srgbClr val="C0C0C0"/>
    </a:accent6>
    <a:hlink>
      <a:srgbClr val="336699"/>
    </a:hlink>
    <a:folHlink>
      <a:srgbClr val="91278F"/>
    </a:folHlink>
  </a:clrScheme>
  <a:fontScheme name="637048354258549980">
    <a:majorFont>
      <a:latin typeface="EYInterstate Light"/>
      <a:ea typeface=""/>
      <a:cs typeface=""/>
    </a:majorFont>
    <a:minorFont>
      <a:latin typeface="EYInterstate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637048354258549979">
    <a:dk1>
      <a:srgbClr val="000000"/>
    </a:dk1>
    <a:lt1>
      <a:srgbClr val="646464"/>
    </a:lt1>
    <a:dk2>
      <a:srgbClr val="FFFFFF"/>
    </a:dk2>
    <a:lt2>
      <a:srgbClr val="646464"/>
    </a:lt2>
    <a:accent1>
      <a:srgbClr val="808080"/>
    </a:accent1>
    <a:accent2>
      <a:srgbClr val="FFE600"/>
    </a:accent2>
    <a:accent3>
      <a:srgbClr val="999999"/>
    </a:accent3>
    <a:accent4>
      <a:srgbClr val="F0F0F0"/>
    </a:accent4>
    <a:accent5>
      <a:srgbClr val="00A3AE"/>
    </a:accent5>
    <a:accent6>
      <a:srgbClr val="C0C0C0"/>
    </a:accent6>
    <a:hlink>
      <a:srgbClr val="336699"/>
    </a:hlink>
    <a:folHlink>
      <a:srgbClr val="91278F"/>
    </a:folHlink>
  </a:clrScheme>
  <a:fontScheme name="637048354258549980">
    <a:majorFont>
      <a:latin typeface="EYInterstate Light"/>
      <a:ea typeface=""/>
      <a:cs typeface=""/>
    </a:majorFont>
    <a:minorFont>
      <a:latin typeface="EYInterstate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BB7F39E7BF08F4EAADA0C88AEEAE940" ma:contentTypeVersion="4" ma:contentTypeDescription="Creare un nuovo documento." ma:contentTypeScope="" ma:versionID="34e94dcbc811c8749cce4ae79e3b3e94">
  <xsd:schema xmlns:xsd="http://www.w3.org/2001/XMLSchema" xmlns:xs="http://www.w3.org/2001/XMLSchema" xmlns:p="http://schemas.microsoft.com/office/2006/metadata/properties" xmlns:ns2="ffb1c537-bcb0-4162-839b-e1a37c8e79a3" targetNamespace="http://schemas.microsoft.com/office/2006/metadata/properties" ma:root="true" ma:fieldsID="9805894722fc4e84d319edf532444908" ns2:_="">
    <xsd:import namespace="ffb1c537-bcb0-4162-839b-e1a37c8e79a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b1c537-bcb0-4162-839b-e1a37c8e79a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C953AF3-C272-49DA-9694-F99EB1FF0D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b1c537-bcb0-4162-839b-e1a37c8e79a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7004142-5002-4CAD-A2A9-07F2C0E7E27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22024D-821B-40E7-8349-B349E5E7378A}">
  <ds:schemaRefs>
    <ds:schemaRef ds:uri="ffb1c537-bcb0-4162-839b-e1a37c8e79a3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elements/1.1/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646</TotalTime>
  <Words>1768</Words>
  <Application>Microsoft Office PowerPoint</Application>
  <PresentationFormat>Widescreen</PresentationFormat>
  <Paragraphs>476</Paragraphs>
  <Slides>18</Slides>
  <Notes>16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18</vt:i4>
      </vt:variant>
    </vt:vector>
  </HeadingPairs>
  <TitlesOfParts>
    <vt:vector size="25" baseType="lpstr">
      <vt:lpstr>Aptos</vt:lpstr>
      <vt:lpstr>Aptos Display</vt:lpstr>
      <vt:lpstr>Arial</vt:lpstr>
      <vt:lpstr>Calibri</vt:lpstr>
      <vt:lpstr>Century Gothic</vt:lpstr>
      <vt:lpstr>Source Sans Pro</vt:lpstr>
      <vt:lpstr>Tema di Office</vt:lpstr>
      <vt:lpstr>Presentazione standard di PowerPoint</vt:lpstr>
      <vt:lpstr>Strategie per la sostenibilità e circolarità del sistema industriale italiano: processi verdi e materiali innovativi da fonti residuali e non-critich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gregazione (ipotesi di aggregazione  scientifica di progettualità PNRR in essere)</dc:title>
  <dc:creator>LAURA RAGAZZI</dc:creator>
  <cp:lastModifiedBy>PIERLUIGI BARBARO</cp:lastModifiedBy>
  <cp:revision>243</cp:revision>
  <cp:lastPrinted>2025-03-18T15:51:47Z</cp:lastPrinted>
  <dcterms:created xsi:type="dcterms:W3CDTF">2024-12-30T12:13:18Z</dcterms:created>
  <dcterms:modified xsi:type="dcterms:W3CDTF">2025-04-01T12:52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B7F39E7BF08F4EAADA0C88AEEAE940</vt:lpwstr>
  </property>
</Properties>
</file>